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2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98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9.xml" ContentType="application/vnd.openxmlformats-officedocument.drawingml.chart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0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27" r:id="rId3"/>
    <p:sldMasterId id="2147483957" r:id="rId4"/>
    <p:sldMasterId id="2147484001" r:id="rId5"/>
    <p:sldMasterId id="2147484113" r:id="rId6"/>
    <p:sldMasterId id="2147484131" r:id="rId7"/>
    <p:sldMasterId id="2147484212" r:id="rId8"/>
  </p:sldMasterIdLst>
  <p:notesMasterIdLst>
    <p:notesMasterId r:id="rId43"/>
  </p:notesMasterIdLst>
  <p:sldIdLst>
    <p:sldId id="765" r:id="rId9"/>
    <p:sldId id="1964" r:id="rId10"/>
    <p:sldId id="2100" r:id="rId11"/>
    <p:sldId id="2101" r:id="rId12"/>
    <p:sldId id="2102" r:id="rId13"/>
    <p:sldId id="2065" r:id="rId14"/>
    <p:sldId id="2008" r:id="rId15"/>
    <p:sldId id="2009" r:id="rId16"/>
    <p:sldId id="1887" r:id="rId17"/>
    <p:sldId id="2081" r:id="rId18"/>
    <p:sldId id="2103" r:id="rId19"/>
    <p:sldId id="2082" r:id="rId20"/>
    <p:sldId id="2083" r:id="rId21"/>
    <p:sldId id="2024" r:id="rId22"/>
    <p:sldId id="2066" r:id="rId23"/>
    <p:sldId id="2104" r:id="rId24"/>
    <p:sldId id="2106" r:id="rId25"/>
    <p:sldId id="2070" r:id="rId26"/>
    <p:sldId id="2107" r:id="rId27"/>
    <p:sldId id="2108" r:id="rId28"/>
    <p:sldId id="2109" r:id="rId29"/>
    <p:sldId id="1915" r:id="rId30"/>
    <p:sldId id="1916" r:id="rId31"/>
    <p:sldId id="2084" r:id="rId32"/>
    <p:sldId id="2085" r:id="rId33"/>
    <p:sldId id="2086" r:id="rId34"/>
    <p:sldId id="1917" r:id="rId35"/>
    <p:sldId id="1794" r:id="rId36"/>
    <p:sldId id="1987" r:id="rId37"/>
    <p:sldId id="2091" r:id="rId38"/>
    <p:sldId id="2092" r:id="rId39"/>
    <p:sldId id="2110" r:id="rId40"/>
    <p:sldId id="2069" r:id="rId41"/>
    <p:sldId id="2093" r:id="rId42"/>
  </p:sldIdLst>
  <p:sldSz cx="12192000" cy="6858000"/>
  <p:notesSz cx="6858000" cy="9144000"/>
  <p:custDataLst>
    <p:tags r:id="rId4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CCFF"/>
    <a:srgbClr val="00FF00"/>
    <a:srgbClr val="FFFFFF"/>
    <a:srgbClr val="305983"/>
    <a:srgbClr val="F7E7E9"/>
    <a:srgbClr val="D31145"/>
    <a:srgbClr val="E7F6EA"/>
    <a:srgbClr val="92D050"/>
    <a:srgbClr val="00CD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68" autoAdjust="0"/>
    <p:restoredTop sz="93721" autoAdjust="0"/>
  </p:normalViewPr>
  <p:slideViewPr>
    <p:cSldViewPr snapToGrid="0">
      <p:cViewPr varScale="1">
        <p:scale>
          <a:sx n="100" d="100"/>
          <a:sy n="100" d="100"/>
        </p:scale>
        <p:origin x="666" y="96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9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63:$A$172</c:f>
              <c:strCache>
                <c:ptCount val="110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  <c:pt idx="73">
                  <c:v>15.03.2021</c:v>
                </c:pt>
                <c:pt idx="74">
                  <c:v>16.03.2021</c:v>
                </c:pt>
                <c:pt idx="75">
                  <c:v>17.03.2021</c:v>
                </c:pt>
                <c:pt idx="76">
                  <c:v>18.03.2021</c:v>
                </c:pt>
                <c:pt idx="77">
                  <c:v>19.03.2021</c:v>
                </c:pt>
                <c:pt idx="78">
                  <c:v>20.03.2021</c:v>
                </c:pt>
                <c:pt idx="79">
                  <c:v>21.03.2021</c:v>
                </c:pt>
                <c:pt idx="80">
                  <c:v>22.03.2021</c:v>
                </c:pt>
                <c:pt idx="81">
                  <c:v>23.03.2021</c:v>
                </c:pt>
                <c:pt idx="82">
                  <c:v>24.03.2021</c:v>
                </c:pt>
                <c:pt idx="83">
                  <c:v>25.03.2021</c:v>
                </c:pt>
                <c:pt idx="84">
                  <c:v>26.03.2021</c:v>
                </c:pt>
                <c:pt idx="85">
                  <c:v>27.03.2021</c:v>
                </c:pt>
                <c:pt idx="86">
                  <c:v>28.03.2021</c:v>
                </c:pt>
                <c:pt idx="87">
                  <c:v>29.03.2021</c:v>
                </c:pt>
                <c:pt idx="88">
                  <c:v>30.03.2021</c:v>
                </c:pt>
                <c:pt idx="89">
                  <c:v>31.03.2021</c:v>
                </c:pt>
                <c:pt idx="90">
                  <c:v>01.04.2021</c:v>
                </c:pt>
                <c:pt idx="91">
                  <c:v>02.04.2021</c:v>
                </c:pt>
                <c:pt idx="92">
                  <c:v>03.04.2021</c:v>
                </c:pt>
                <c:pt idx="93">
                  <c:v>04.04.2021</c:v>
                </c:pt>
                <c:pt idx="94">
                  <c:v>05.04.2021</c:v>
                </c:pt>
                <c:pt idx="95">
                  <c:v>06.04.2021</c:v>
                </c:pt>
                <c:pt idx="96">
                  <c:v>07.04.2021</c:v>
                </c:pt>
                <c:pt idx="97">
                  <c:v>08.04.2021</c:v>
                </c:pt>
                <c:pt idx="98">
                  <c:v>09.04.2021</c:v>
                </c:pt>
                <c:pt idx="99">
                  <c:v>10.04.2021</c:v>
                </c:pt>
                <c:pt idx="100">
                  <c:v>11.04.2021</c:v>
                </c:pt>
                <c:pt idx="101">
                  <c:v>12.04.2021</c:v>
                </c:pt>
                <c:pt idx="102">
                  <c:v>13.04.2021</c:v>
                </c:pt>
                <c:pt idx="103">
                  <c:v>14.04.2021</c:v>
                </c:pt>
                <c:pt idx="104">
                  <c:v>15.04.2021</c:v>
                </c:pt>
                <c:pt idx="105">
                  <c:v>16.04.2021</c:v>
                </c:pt>
                <c:pt idx="106">
                  <c:v>17.04.2021</c:v>
                </c:pt>
                <c:pt idx="107">
                  <c:v>18.04.2021</c:v>
                </c:pt>
                <c:pt idx="108">
                  <c:v>19.04.2021</c:v>
                </c:pt>
                <c:pt idx="109">
                  <c:v>20.04.2021</c:v>
                </c:pt>
              </c:strCache>
            </c:strRef>
          </c:cat>
          <c:val>
            <c:numRef>
              <c:f>Sheet1!$B$63:$B$172</c:f>
              <c:numCache>
                <c:formatCode>###0</c:formatCode>
                <c:ptCount val="110"/>
                <c:pt idx="0">
                  <c:v>3446</c:v>
                </c:pt>
                <c:pt idx="1">
                  <c:v>4985</c:v>
                </c:pt>
                <c:pt idx="2">
                  <c:v>6267</c:v>
                </c:pt>
                <c:pt idx="3">
                  <c:v>12956</c:v>
                </c:pt>
                <c:pt idx="4">
                  <c:v>17398</c:v>
                </c:pt>
                <c:pt idx="5">
                  <c:v>17770</c:v>
                </c:pt>
                <c:pt idx="6">
                  <c:v>14882</c:v>
                </c:pt>
                <c:pt idx="7">
                  <c:v>13099</c:v>
                </c:pt>
                <c:pt idx="8">
                  <c:v>8437</c:v>
                </c:pt>
                <c:pt idx="9">
                  <c:v>4313</c:v>
                </c:pt>
                <c:pt idx="10">
                  <c:v>9386</c:v>
                </c:pt>
                <c:pt idx="11">
                  <c:v>10811</c:v>
                </c:pt>
                <c:pt idx="12">
                  <c:v>10918</c:v>
                </c:pt>
                <c:pt idx="13">
                  <c:v>8087</c:v>
                </c:pt>
                <c:pt idx="14">
                  <c:v>9300</c:v>
                </c:pt>
                <c:pt idx="15">
                  <c:v>5241</c:v>
                </c:pt>
                <c:pt idx="16">
                  <c:v>2641</c:v>
                </c:pt>
                <c:pt idx="17">
                  <c:v>7668</c:v>
                </c:pt>
                <c:pt idx="18">
                  <c:v>9610</c:v>
                </c:pt>
                <c:pt idx="19">
                  <c:v>8215</c:v>
                </c:pt>
                <c:pt idx="20">
                  <c:v>7532</c:v>
                </c:pt>
                <c:pt idx="21">
                  <c:v>8468</c:v>
                </c:pt>
                <c:pt idx="22">
                  <c:v>4239</c:v>
                </c:pt>
                <c:pt idx="23">
                  <c:v>2394</c:v>
                </c:pt>
                <c:pt idx="24">
                  <c:v>6974</c:v>
                </c:pt>
                <c:pt idx="25">
                  <c:v>9195</c:v>
                </c:pt>
                <c:pt idx="26">
                  <c:v>8504</c:v>
                </c:pt>
                <c:pt idx="27">
                  <c:v>8010</c:v>
                </c:pt>
                <c:pt idx="28">
                  <c:v>8052</c:v>
                </c:pt>
                <c:pt idx="29">
                  <c:v>4055</c:v>
                </c:pt>
                <c:pt idx="30">
                  <c:v>2573</c:v>
                </c:pt>
                <c:pt idx="31">
                  <c:v>7217</c:v>
                </c:pt>
                <c:pt idx="32">
                  <c:v>9148</c:v>
                </c:pt>
                <c:pt idx="33">
                  <c:v>9667</c:v>
                </c:pt>
                <c:pt idx="34">
                  <c:v>8107</c:v>
                </c:pt>
                <c:pt idx="35">
                  <c:v>8622</c:v>
                </c:pt>
                <c:pt idx="36">
                  <c:v>4820</c:v>
                </c:pt>
                <c:pt idx="37">
                  <c:v>2451</c:v>
                </c:pt>
                <c:pt idx="38">
                  <c:v>7777</c:v>
                </c:pt>
                <c:pt idx="39">
                  <c:v>10283</c:v>
                </c:pt>
                <c:pt idx="40">
                  <c:v>9538</c:v>
                </c:pt>
                <c:pt idx="41">
                  <c:v>9018</c:v>
                </c:pt>
                <c:pt idx="42">
                  <c:v>8830</c:v>
                </c:pt>
                <c:pt idx="43">
                  <c:v>5141</c:v>
                </c:pt>
                <c:pt idx="44">
                  <c:v>2881</c:v>
                </c:pt>
                <c:pt idx="45">
                  <c:v>8905</c:v>
                </c:pt>
                <c:pt idx="46">
                  <c:v>12608</c:v>
                </c:pt>
                <c:pt idx="47">
                  <c:v>10938</c:v>
                </c:pt>
                <c:pt idx="48">
                  <c:v>11703</c:v>
                </c:pt>
                <c:pt idx="49">
                  <c:v>11287</c:v>
                </c:pt>
                <c:pt idx="50">
                  <c:v>6775</c:v>
                </c:pt>
                <c:pt idx="51">
                  <c:v>4068</c:v>
                </c:pt>
                <c:pt idx="52">
                  <c:v>11408</c:v>
                </c:pt>
                <c:pt idx="53">
                  <c:v>15841</c:v>
                </c:pt>
                <c:pt idx="54">
                  <c:v>13795</c:v>
                </c:pt>
                <c:pt idx="55">
                  <c:v>14588</c:v>
                </c:pt>
                <c:pt idx="56">
                  <c:v>14776</c:v>
                </c:pt>
                <c:pt idx="57">
                  <c:v>7823</c:v>
                </c:pt>
                <c:pt idx="58">
                  <c:v>4587</c:v>
                </c:pt>
                <c:pt idx="59">
                  <c:v>12324</c:v>
                </c:pt>
                <c:pt idx="60">
                  <c:v>16777</c:v>
                </c:pt>
                <c:pt idx="61">
                  <c:v>15239</c:v>
                </c:pt>
                <c:pt idx="62">
                  <c:v>14649</c:v>
                </c:pt>
                <c:pt idx="63">
                  <c:v>13169</c:v>
                </c:pt>
                <c:pt idx="64">
                  <c:v>9130</c:v>
                </c:pt>
                <c:pt idx="65">
                  <c:v>3983</c:v>
                </c:pt>
                <c:pt idx="66">
                  <c:v>10654</c:v>
                </c:pt>
                <c:pt idx="67">
                  <c:v>15358</c:v>
                </c:pt>
                <c:pt idx="68">
                  <c:v>14535</c:v>
                </c:pt>
                <c:pt idx="69">
                  <c:v>11244</c:v>
                </c:pt>
                <c:pt idx="70">
                  <c:v>14958</c:v>
                </c:pt>
                <c:pt idx="71">
                  <c:v>6956</c:v>
                </c:pt>
                <c:pt idx="72">
                  <c:v>3331</c:v>
                </c:pt>
                <c:pt idx="73">
                  <c:v>10628</c:v>
                </c:pt>
                <c:pt idx="74">
                  <c:v>14028</c:v>
                </c:pt>
                <c:pt idx="75">
                  <c:v>12027</c:v>
                </c:pt>
                <c:pt idx="76">
                  <c:v>10659</c:v>
                </c:pt>
                <c:pt idx="77">
                  <c:v>9711</c:v>
                </c:pt>
                <c:pt idx="78">
                  <c:v>5466</c:v>
                </c:pt>
                <c:pt idx="79">
                  <c:v>2389</c:v>
                </c:pt>
                <c:pt idx="80">
                  <c:v>8240</c:v>
                </c:pt>
                <c:pt idx="81">
                  <c:v>10969</c:v>
                </c:pt>
                <c:pt idx="82">
                  <c:v>8847</c:v>
                </c:pt>
                <c:pt idx="83">
                  <c:v>7924</c:v>
                </c:pt>
                <c:pt idx="84">
                  <c:v>7710</c:v>
                </c:pt>
                <c:pt idx="85">
                  <c:v>3969</c:v>
                </c:pt>
                <c:pt idx="86">
                  <c:v>1743</c:v>
                </c:pt>
                <c:pt idx="87">
                  <c:v>6934</c:v>
                </c:pt>
                <c:pt idx="88">
                  <c:v>8629</c:v>
                </c:pt>
                <c:pt idx="89">
                  <c:v>7262</c:v>
                </c:pt>
                <c:pt idx="90">
                  <c:v>6244</c:v>
                </c:pt>
                <c:pt idx="91">
                  <c:v>3837</c:v>
                </c:pt>
                <c:pt idx="92">
                  <c:v>2160</c:v>
                </c:pt>
                <c:pt idx="93">
                  <c:v>1925</c:v>
                </c:pt>
                <c:pt idx="94">
                  <c:v>1419</c:v>
                </c:pt>
                <c:pt idx="95">
                  <c:v>5580</c:v>
                </c:pt>
                <c:pt idx="96">
                  <c:v>7051</c:v>
                </c:pt>
                <c:pt idx="97">
                  <c:v>5282</c:v>
                </c:pt>
                <c:pt idx="98">
                  <c:v>4820</c:v>
                </c:pt>
                <c:pt idx="99">
                  <c:v>2204</c:v>
                </c:pt>
                <c:pt idx="100">
                  <c:v>985</c:v>
                </c:pt>
                <c:pt idx="101">
                  <c:v>3868</c:v>
                </c:pt>
                <c:pt idx="102">
                  <c:v>5056</c:v>
                </c:pt>
                <c:pt idx="103">
                  <c:v>3714</c:v>
                </c:pt>
                <c:pt idx="104">
                  <c:v>3262</c:v>
                </c:pt>
                <c:pt idx="105">
                  <c:v>3216</c:v>
                </c:pt>
                <c:pt idx="106">
                  <c:v>1541</c:v>
                </c:pt>
                <c:pt idx="107">
                  <c:v>832</c:v>
                </c:pt>
                <c:pt idx="108">
                  <c:v>3324</c:v>
                </c:pt>
                <c:pt idx="109">
                  <c:v>3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catAx>
        <c:axId val="417147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Algn val="ctr"/>
        <c:lblOffset val="100"/>
        <c:tickLblSkip val="1"/>
        <c:noMultiLvlLbl val="1"/>
      </c:catAx>
      <c:valAx>
        <c:axId val="419321824"/>
        <c:scaling>
          <c:orientation val="minMax"/>
          <c:max val="2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1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.0767230169049999</c:v>
                </c:pt>
                <c:pt idx="1">
                  <c:v>0.80376411543199999</c:v>
                </c:pt>
                <c:pt idx="2">
                  <c:v>0.91186307298799996</c:v>
                </c:pt>
                <c:pt idx="3">
                  <c:v>0.92388029724800003</c:v>
                </c:pt>
                <c:pt idx="4">
                  <c:v>0.78490259740199997</c:v>
                </c:pt>
                <c:pt idx="5">
                  <c:v>0.82638182434700003</c:v>
                </c:pt>
                <c:pt idx="6">
                  <c:v>0.84900495524200004</c:v>
                </c:pt>
                <c:pt idx="7">
                  <c:v>0.81934235976699998</c:v>
                </c:pt>
                <c:pt idx="8">
                  <c:v>0.81243830207300005</c:v>
                </c:pt>
                <c:pt idx="9">
                  <c:v>0.90441969097999997</c:v>
                </c:pt>
                <c:pt idx="10">
                  <c:v>0.74043555032300001</c:v>
                </c:pt>
                <c:pt idx="11">
                  <c:v>0.95550692924799996</c:v>
                </c:pt>
                <c:pt idx="12">
                  <c:v>0.76999631404299995</c:v>
                </c:pt>
                <c:pt idx="13">
                  <c:v>0.83499005964200002</c:v>
                </c:pt>
                <c:pt idx="14">
                  <c:v>0.767261442979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142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0.79117518567</c:v>
                </c:pt>
                <c:pt idx="1">
                  <c:v>0.80845771144199996</c:v>
                </c:pt>
                <c:pt idx="2">
                  <c:v>0.72279665189499998</c:v>
                </c:pt>
                <c:pt idx="3">
                  <c:v>0.84874158983299997</c:v>
                </c:pt>
                <c:pt idx="4">
                  <c:v>0.72318840579699994</c:v>
                </c:pt>
                <c:pt idx="5">
                  <c:v>0.78778421756499994</c:v>
                </c:pt>
                <c:pt idx="6">
                  <c:v>0.76334784136599998</c:v>
                </c:pt>
                <c:pt idx="7">
                  <c:v>0.77881705639599996</c:v>
                </c:pt>
                <c:pt idx="8">
                  <c:v>0.72880434782600001</c:v>
                </c:pt>
                <c:pt idx="9">
                  <c:v>0.82912264584200002</c:v>
                </c:pt>
                <c:pt idx="10">
                  <c:v>0.67543859649100002</c:v>
                </c:pt>
                <c:pt idx="11">
                  <c:v>0.78995815899499999</c:v>
                </c:pt>
                <c:pt idx="12">
                  <c:v>0.64125295508199998</c:v>
                </c:pt>
                <c:pt idx="13">
                  <c:v>0.71708683473299994</c:v>
                </c:pt>
                <c:pt idx="14">
                  <c:v>0.739002932551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143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0.93850415512399998</c:v>
                </c:pt>
                <c:pt idx="1">
                  <c:v>0.75110132158499998</c:v>
                </c:pt>
                <c:pt idx="2">
                  <c:v>0.76973457428400005</c:v>
                </c:pt>
                <c:pt idx="3">
                  <c:v>0.916309012875</c:v>
                </c:pt>
                <c:pt idx="4">
                  <c:v>0.77190876350500004</c:v>
                </c:pt>
                <c:pt idx="5">
                  <c:v>0.72312312312299998</c:v>
                </c:pt>
                <c:pt idx="6">
                  <c:v>0.81580776123700005</c:v>
                </c:pt>
                <c:pt idx="7">
                  <c:v>0.85215759849899997</c:v>
                </c:pt>
                <c:pt idx="8">
                  <c:v>0.83862229102100005</c:v>
                </c:pt>
                <c:pt idx="9">
                  <c:v>0.857142857142</c:v>
                </c:pt>
                <c:pt idx="10">
                  <c:v>0.70938897168399995</c:v>
                </c:pt>
                <c:pt idx="11">
                  <c:v>0.85843533794500004</c:v>
                </c:pt>
                <c:pt idx="12">
                  <c:v>0.714555765595</c:v>
                </c:pt>
                <c:pt idx="13">
                  <c:v>0.73703703703699996</c:v>
                </c:pt>
                <c:pt idx="14">
                  <c:v>0.74345549738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144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0.90095846645300004</c:v>
                </c:pt>
                <c:pt idx="1">
                  <c:v>0.85430134261500001</c:v>
                </c:pt>
                <c:pt idx="2">
                  <c:v>0.85251524390199995</c:v>
                </c:pt>
                <c:pt idx="3">
                  <c:v>0.81828943474399995</c:v>
                </c:pt>
                <c:pt idx="4">
                  <c:v>0.81670131670099999</c:v>
                </c:pt>
                <c:pt idx="5">
                  <c:v>0.81417756366100003</c:v>
                </c:pt>
                <c:pt idx="6">
                  <c:v>0.80778279146900001</c:v>
                </c:pt>
                <c:pt idx="7">
                  <c:v>0.79914860681099997</c:v>
                </c:pt>
                <c:pt idx="8">
                  <c:v>0.79548254620100001</c:v>
                </c:pt>
                <c:pt idx="9">
                  <c:v>0.787741203178</c:v>
                </c:pt>
                <c:pt idx="10">
                  <c:v>0.75783972125400001</c:v>
                </c:pt>
                <c:pt idx="11">
                  <c:v>0.74351443954899998</c:v>
                </c:pt>
                <c:pt idx="12">
                  <c:v>0.72246220302300002</c:v>
                </c:pt>
                <c:pt idx="13">
                  <c:v>0.71535580524300002</c:v>
                </c:pt>
                <c:pt idx="14">
                  <c:v>0.705937794532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73-428B-83ED-41487FECEC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Moravskoslez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Hlavní město Praha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.90095846645300004</c:v>
                </c:pt>
                <c:pt idx="1">
                  <c:v>0.85430134261500001</c:v>
                </c:pt>
                <c:pt idx="2">
                  <c:v>0.85251524390199995</c:v>
                </c:pt>
                <c:pt idx="3">
                  <c:v>0.81828943474399995</c:v>
                </c:pt>
                <c:pt idx="4">
                  <c:v>0.81670131670099999</c:v>
                </c:pt>
                <c:pt idx="5">
                  <c:v>0.81417756366100003</c:v>
                </c:pt>
                <c:pt idx="6">
                  <c:v>0.80778279146900001</c:v>
                </c:pt>
                <c:pt idx="7">
                  <c:v>0.79914860681099997</c:v>
                </c:pt>
                <c:pt idx="8">
                  <c:v>0.79548254620100001</c:v>
                </c:pt>
                <c:pt idx="9">
                  <c:v>0.787741203178</c:v>
                </c:pt>
                <c:pt idx="10">
                  <c:v>0.75783972125400001</c:v>
                </c:pt>
                <c:pt idx="11">
                  <c:v>0.74351443954899998</c:v>
                </c:pt>
                <c:pt idx="12">
                  <c:v>0.72246220302300002</c:v>
                </c:pt>
                <c:pt idx="13">
                  <c:v>0.71535580524300002</c:v>
                </c:pt>
                <c:pt idx="14">
                  <c:v>0.705937794532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Vsetín</c:v>
                </c:pt>
                <c:pt idx="2">
                  <c:v>Zlín</c:v>
                </c:pt>
                <c:pt idx="3">
                  <c:v>Blansko</c:v>
                </c:pt>
                <c:pt idx="4">
                  <c:v>Prachatice</c:v>
                </c:pt>
                <c:pt idx="5">
                  <c:v>Třebíč</c:v>
                </c:pt>
                <c:pt idx="6">
                  <c:v>Svitavy</c:v>
                </c:pt>
                <c:pt idx="7">
                  <c:v>Jihlava</c:v>
                </c:pt>
                <c:pt idx="8">
                  <c:v>Děčín</c:v>
                </c:pt>
                <c:pt idx="9">
                  <c:v>Český Krumlov</c:v>
                </c:pt>
                <c:pt idx="10">
                  <c:v>Teplice</c:v>
                </c:pt>
                <c:pt idx="11">
                  <c:v>Most</c:v>
                </c:pt>
                <c:pt idx="12">
                  <c:v>Písek</c:v>
                </c:pt>
                <c:pt idx="13">
                  <c:v>Nový Jičín</c:v>
                </c:pt>
                <c:pt idx="14">
                  <c:v>Uherské Hradiště</c:v>
                </c:pt>
                <c:pt idx="15">
                  <c:v>ČR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484.09756427833901</c:v>
                </c:pt>
                <c:pt idx="1">
                  <c:v>398.37024013841699</c:v>
                </c:pt>
                <c:pt idx="2">
                  <c:v>527.51862751236604</c:v>
                </c:pt>
                <c:pt idx="3">
                  <c:v>426.99017739334403</c:v>
                </c:pt>
                <c:pt idx="4">
                  <c:v>362.901643846365</c:v>
                </c:pt>
                <c:pt idx="5">
                  <c:v>499.95487771861701</c:v>
                </c:pt>
                <c:pt idx="6">
                  <c:v>490.736392129048</c:v>
                </c:pt>
                <c:pt idx="7">
                  <c:v>527.15879888759798</c:v>
                </c:pt>
                <c:pt idx="8">
                  <c:v>631.45543530283601</c:v>
                </c:pt>
                <c:pt idx="9">
                  <c:v>490.61017609981099</c:v>
                </c:pt>
                <c:pt idx="10">
                  <c:v>471.05491508615302</c:v>
                </c:pt>
                <c:pt idx="11">
                  <c:v>558.59920507036202</c:v>
                </c:pt>
                <c:pt idx="12">
                  <c:v>430.24571500411997</c:v>
                </c:pt>
                <c:pt idx="13">
                  <c:v>372.74784432994397</c:v>
                </c:pt>
                <c:pt idx="14">
                  <c:v>390.92711599848099</c:v>
                </c:pt>
                <c:pt idx="15">
                  <c:v>397.33722064432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Vsetín</c:v>
                </c:pt>
                <c:pt idx="2">
                  <c:v>Zlín</c:v>
                </c:pt>
                <c:pt idx="3">
                  <c:v>Blansko</c:v>
                </c:pt>
                <c:pt idx="4">
                  <c:v>Prachatice</c:v>
                </c:pt>
                <c:pt idx="5">
                  <c:v>Třebíč</c:v>
                </c:pt>
                <c:pt idx="6">
                  <c:v>Svitavy</c:v>
                </c:pt>
                <c:pt idx="7">
                  <c:v>Jihlava</c:v>
                </c:pt>
                <c:pt idx="8">
                  <c:v>Děčín</c:v>
                </c:pt>
                <c:pt idx="9">
                  <c:v>Český Krumlov</c:v>
                </c:pt>
                <c:pt idx="10">
                  <c:v>Teplice</c:v>
                </c:pt>
                <c:pt idx="11">
                  <c:v>Most</c:v>
                </c:pt>
                <c:pt idx="12">
                  <c:v>Písek</c:v>
                </c:pt>
                <c:pt idx="13">
                  <c:v>Nový Jičín</c:v>
                </c:pt>
                <c:pt idx="14">
                  <c:v>Uherské Hradiště</c:v>
                </c:pt>
                <c:pt idx="15">
                  <c:v>ČR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425.70117977623102</c:v>
                </c:pt>
                <c:pt idx="1">
                  <c:v>304.882302873009</c:v>
                </c:pt>
                <c:pt idx="2">
                  <c:v>377.24625884415502</c:v>
                </c:pt>
                <c:pt idx="3">
                  <c:v>324.36592874945001</c:v>
                </c:pt>
                <c:pt idx="4">
                  <c:v>351.13186080269901</c:v>
                </c:pt>
                <c:pt idx="5">
                  <c:v>308.63640465661899</c:v>
                </c:pt>
                <c:pt idx="6">
                  <c:v>339.29820862047399</c:v>
                </c:pt>
                <c:pt idx="7">
                  <c:v>411.870313655085</c:v>
                </c:pt>
                <c:pt idx="8">
                  <c:v>417.62517175896602</c:v>
                </c:pt>
                <c:pt idx="9">
                  <c:v>347.65091948794498</c:v>
                </c:pt>
                <c:pt idx="10">
                  <c:v>333.14739060369402</c:v>
                </c:pt>
                <c:pt idx="11">
                  <c:v>385.82733555340701</c:v>
                </c:pt>
                <c:pt idx="12">
                  <c:v>310.11217120426801</c:v>
                </c:pt>
                <c:pt idx="13">
                  <c:v>275.10770103643603</c:v>
                </c:pt>
                <c:pt idx="14">
                  <c:v>273.508359934189</c:v>
                </c:pt>
                <c:pt idx="15">
                  <c:v>264.04676518166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Vsetín</c:v>
                </c:pt>
                <c:pt idx="2">
                  <c:v>Zlín</c:v>
                </c:pt>
                <c:pt idx="3">
                  <c:v>Blansko</c:v>
                </c:pt>
                <c:pt idx="4">
                  <c:v>Prachatice</c:v>
                </c:pt>
                <c:pt idx="5">
                  <c:v>Třebíč</c:v>
                </c:pt>
                <c:pt idx="6">
                  <c:v>Svitavy</c:v>
                </c:pt>
                <c:pt idx="7">
                  <c:v>Jihlava</c:v>
                </c:pt>
                <c:pt idx="8">
                  <c:v>Děčín</c:v>
                </c:pt>
                <c:pt idx="9">
                  <c:v>Český Krumlov</c:v>
                </c:pt>
                <c:pt idx="10">
                  <c:v>Teplice</c:v>
                </c:pt>
                <c:pt idx="11">
                  <c:v>Most</c:v>
                </c:pt>
                <c:pt idx="12">
                  <c:v>Písek</c:v>
                </c:pt>
                <c:pt idx="13">
                  <c:v>Nový Jičín</c:v>
                </c:pt>
                <c:pt idx="14">
                  <c:v>Uherské Hradiště</c:v>
                </c:pt>
                <c:pt idx="15">
                  <c:v>ČR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0">
                  <c:v>370.69009292641999</c:v>
                </c:pt>
                <c:pt idx="1">
                  <c:v>325.81243808168301</c:v>
                </c:pt>
                <c:pt idx="2">
                  <c:v>312.54565566756401</c:v>
                </c:pt>
                <c:pt idx="3">
                  <c:v>262.05834921565702</c:v>
                </c:pt>
                <c:pt idx="4">
                  <c:v>292.28294558436897</c:v>
                </c:pt>
                <c:pt idx="5">
                  <c:v>296.00216586950597</c:v>
                </c:pt>
                <c:pt idx="6">
                  <c:v>286.58238524723703</c:v>
                </c:pt>
                <c:pt idx="7">
                  <c:v>333.544548878797</c:v>
                </c:pt>
                <c:pt idx="8">
                  <c:v>348.14963486745597</c:v>
                </c:pt>
                <c:pt idx="9">
                  <c:v>307.03749431412001</c:v>
                </c:pt>
                <c:pt idx="10">
                  <c:v>303.70645841080898</c:v>
                </c:pt>
                <c:pt idx="11">
                  <c:v>311.52647975077798</c:v>
                </c:pt>
                <c:pt idx="12">
                  <c:v>224.901169206699</c:v>
                </c:pt>
                <c:pt idx="13">
                  <c:v>287.642584297089</c:v>
                </c:pt>
                <c:pt idx="14">
                  <c:v>269.289721991759</c:v>
                </c:pt>
                <c:pt idx="15">
                  <c:v>208.57609155990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Vsetín</c:v>
                </c:pt>
                <c:pt idx="2">
                  <c:v>Zlín</c:v>
                </c:pt>
                <c:pt idx="3">
                  <c:v>Blansko</c:v>
                </c:pt>
                <c:pt idx="4">
                  <c:v>Prachatice</c:v>
                </c:pt>
                <c:pt idx="5">
                  <c:v>Třebíč</c:v>
                </c:pt>
                <c:pt idx="6">
                  <c:v>Svitavy</c:v>
                </c:pt>
                <c:pt idx="7">
                  <c:v>Jihlava</c:v>
                </c:pt>
                <c:pt idx="8">
                  <c:v>Děčín</c:v>
                </c:pt>
                <c:pt idx="9">
                  <c:v>Český Krumlov</c:v>
                </c:pt>
                <c:pt idx="10">
                  <c:v>Teplice</c:v>
                </c:pt>
                <c:pt idx="11">
                  <c:v>Most</c:v>
                </c:pt>
                <c:pt idx="12">
                  <c:v>Písek</c:v>
                </c:pt>
                <c:pt idx="13">
                  <c:v>Nový Jičín</c:v>
                </c:pt>
                <c:pt idx="14">
                  <c:v>Uherské Hradiště</c:v>
                </c:pt>
                <c:pt idx="15">
                  <c:v>ČR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0">
                  <c:v>326.68122344657098</c:v>
                </c:pt>
                <c:pt idx="1">
                  <c:v>320.23106869270299</c:v>
                </c:pt>
                <c:pt idx="2">
                  <c:v>316.19810907269402</c:v>
                </c:pt>
                <c:pt idx="3">
                  <c:v>310.62160973464302</c:v>
                </c:pt>
                <c:pt idx="4">
                  <c:v>309.937620149868</c:v>
                </c:pt>
                <c:pt idx="5">
                  <c:v>307.733959028968</c:v>
                </c:pt>
                <c:pt idx="6">
                  <c:v>307.66871459653203</c:v>
                </c:pt>
                <c:pt idx="7">
                  <c:v>300.982152286408</c:v>
                </c:pt>
                <c:pt idx="8">
                  <c:v>294.113106174059</c:v>
                </c:pt>
                <c:pt idx="9">
                  <c:v>285.918513223731</c:v>
                </c:pt>
                <c:pt idx="10">
                  <c:v>285.11218544688199</c:v>
                </c:pt>
                <c:pt idx="11">
                  <c:v>284.67074873778</c:v>
                </c:pt>
                <c:pt idx="12">
                  <c:v>283.57103943453399</c:v>
                </c:pt>
                <c:pt idx="13">
                  <c:v>276.42716243229501</c:v>
                </c:pt>
                <c:pt idx="14">
                  <c:v>271.39904096297403</c:v>
                </c:pt>
                <c:pt idx="15">
                  <c:v>195.85860738498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2B-482C-9C0E-781B78408E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Vsetín</c:v>
                </c:pt>
                <c:pt idx="2">
                  <c:v>Zlín</c:v>
                </c:pt>
                <c:pt idx="3">
                  <c:v>Blansko</c:v>
                </c:pt>
                <c:pt idx="4">
                  <c:v>Prachatice</c:v>
                </c:pt>
                <c:pt idx="5">
                  <c:v>Třebíč</c:v>
                </c:pt>
                <c:pt idx="6">
                  <c:v>Svitavy</c:v>
                </c:pt>
                <c:pt idx="7">
                  <c:v>Jihlava</c:v>
                </c:pt>
                <c:pt idx="8">
                  <c:v>Děčín</c:v>
                </c:pt>
                <c:pt idx="9">
                  <c:v>Český Krumlov</c:v>
                </c:pt>
                <c:pt idx="10">
                  <c:v>Teplice</c:v>
                </c:pt>
                <c:pt idx="11">
                  <c:v>Most</c:v>
                </c:pt>
                <c:pt idx="12">
                  <c:v>Písek</c:v>
                </c:pt>
                <c:pt idx="13">
                  <c:v>Nový Jičín</c:v>
                </c:pt>
                <c:pt idx="14">
                  <c:v>Uherské Hradiště</c:v>
                </c:pt>
                <c:pt idx="15">
                  <c:v>ČR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326.68122344657098</c:v>
                </c:pt>
                <c:pt idx="1">
                  <c:v>320.23106869270299</c:v>
                </c:pt>
                <c:pt idx="2">
                  <c:v>316.19810907269402</c:v>
                </c:pt>
                <c:pt idx="3">
                  <c:v>310.62160973464302</c:v>
                </c:pt>
                <c:pt idx="4">
                  <c:v>309.937620149868</c:v>
                </c:pt>
                <c:pt idx="5">
                  <c:v>307.733959028968</c:v>
                </c:pt>
                <c:pt idx="6">
                  <c:v>307.66871459653203</c:v>
                </c:pt>
                <c:pt idx="7">
                  <c:v>300.982152286408</c:v>
                </c:pt>
                <c:pt idx="8">
                  <c:v>294.113106174059</c:v>
                </c:pt>
                <c:pt idx="9">
                  <c:v>285.918513223731</c:v>
                </c:pt>
                <c:pt idx="10">
                  <c:v>285.11218544688199</c:v>
                </c:pt>
                <c:pt idx="11">
                  <c:v>284.67074873778</c:v>
                </c:pt>
                <c:pt idx="12">
                  <c:v>283.57103943453399</c:v>
                </c:pt>
                <c:pt idx="13">
                  <c:v>276.42716243229501</c:v>
                </c:pt>
                <c:pt idx="14">
                  <c:v>271.39904096297403</c:v>
                </c:pt>
                <c:pt idx="15">
                  <c:v>195.85860738498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Děčín</c:v>
                </c:pt>
                <c:pt idx="2">
                  <c:v>Jihlava</c:v>
                </c:pt>
                <c:pt idx="3">
                  <c:v>Česká Lípa</c:v>
                </c:pt>
                <c:pt idx="4">
                  <c:v>Zlín</c:v>
                </c:pt>
                <c:pt idx="5">
                  <c:v>České Budějovice</c:v>
                </c:pt>
                <c:pt idx="6">
                  <c:v>Prachatice</c:v>
                </c:pt>
                <c:pt idx="7">
                  <c:v>Svitavy</c:v>
                </c:pt>
                <c:pt idx="8">
                  <c:v>Olomouc</c:v>
                </c:pt>
                <c:pt idx="9">
                  <c:v>Český Krumlov</c:v>
                </c:pt>
                <c:pt idx="10">
                  <c:v>Most</c:v>
                </c:pt>
                <c:pt idx="11">
                  <c:v>Blansko</c:v>
                </c:pt>
                <c:pt idx="12">
                  <c:v>Vsetín</c:v>
                </c:pt>
                <c:pt idx="13">
                  <c:v>Teplice</c:v>
                </c:pt>
                <c:pt idx="14">
                  <c:v>Frýdek-Místek</c:v>
                </c:pt>
                <c:pt idx="15">
                  <c:v>ČR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1033.36210836337</c:v>
                </c:pt>
                <c:pt idx="1">
                  <c:v>1427.3363079155699</c:v>
                </c:pt>
                <c:pt idx="2">
                  <c:v>1138.80381596085</c:v>
                </c:pt>
                <c:pt idx="3">
                  <c:v>1495.64375605033</c:v>
                </c:pt>
                <c:pt idx="4">
                  <c:v>938.68052511844303</c:v>
                </c:pt>
                <c:pt idx="5">
                  <c:v>1199.5732581940999</c:v>
                </c:pt>
                <c:pt idx="6">
                  <c:v>882.733728274942</c:v>
                </c:pt>
                <c:pt idx="7">
                  <c:v>1107.99076035386</c:v>
                </c:pt>
                <c:pt idx="8">
                  <c:v>1012.8592783855401</c:v>
                </c:pt>
                <c:pt idx="9">
                  <c:v>1124.17960881148</c:v>
                </c:pt>
                <c:pt idx="10">
                  <c:v>1323.09234790704</c:v>
                </c:pt>
                <c:pt idx="11">
                  <c:v>965.76748277378601</c:v>
                </c:pt>
                <c:pt idx="12">
                  <c:v>816.27527313826397</c:v>
                </c:pt>
                <c:pt idx="13">
                  <c:v>1083.11640014875</c:v>
                </c:pt>
                <c:pt idx="14">
                  <c:v>861.82800708096499</c:v>
                </c:pt>
                <c:pt idx="15">
                  <c:v>898.05075566636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Děčín</c:v>
                </c:pt>
                <c:pt idx="2">
                  <c:v>Jihlava</c:v>
                </c:pt>
                <c:pt idx="3">
                  <c:v>Česká Lípa</c:v>
                </c:pt>
                <c:pt idx="4">
                  <c:v>Zlín</c:v>
                </c:pt>
                <c:pt idx="5">
                  <c:v>České Budějovice</c:v>
                </c:pt>
                <c:pt idx="6">
                  <c:v>Prachatice</c:v>
                </c:pt>
                <c:pt idx="7">
                  <c:v>Svitavy</c:v>
                </c:pt>
                <c:pt idx="8">
                  <c:v>Olomouc</c:v>
                </c:pt>
                <c:pt idx="9">
                  <c:v>Český Krumlov</c:v>
                </c:pt>
                <c:pt idx="10">
                  <c:v>Most</c:v>
                </c:pt>
                <c:pt idx="11">
                  <c:v>Blansko</c:v>
                </c:pt>
                <c:pt idx="12">
                  <c:v>Vsetín</c:v>
                </c:pt>
                <c:pt idx="13">
                  <c:v>Teplice</c:v>
                </c:pt>
                <c:pt idx="14">
                  <c:v>Frýdek-Místek</c:v>
                </c:pt>
                <c:pt idx="15">
                  <c:v>ČR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837.86116894327904</c:v>
                </c:pt>
                <c:pt idx="1">
                  <c:v>974.20141730095202</c:v>
                </c:pt>
                <c:pt idx="2">
                  <c:v>902.06639208645697</c:v>
                </c:pt>
                <c:pt idx="3">
                  <c:v>990.31945788964094</c:v>
                </c:pt>
                <c:pt idx="4">
                  <c:v>882.32838686786397</c:v>
                </c:pt>
                <c:pt idx="5">
                  <c:v>921.884810339811</c:v>
                </c:pt>
                <c:pt idx="6">
                  <c:v>664.99274196712304</c:v>
                </c:pt>
                <c:pt idx="7">
                  <c:v>798.40510672558003</c:v>
                </c:pt>
                <c:pt idx="8">
                  <c:v>770.79228103553703</c:v>
                </c:pt>
                <c:pt idx="9">
                  <c:v>815.51757749041496</c:v>
                </c:pt>
                <c:pt idx="10">
                  <c:v>920.25638271207004</c:v>
                </c:pt>
                <c:pt idx="11">
                  <c:v>722.03489224453801</c:v>
                </c:pt>
                <c:pt idx="12">
                  <c:v>701.85720066418196</c:v>
                </c:pt>
                <c:pt idx="13">
                  <c:v>750.74377091855695</c:v>
                </c:pt>
                <c:pt idx="14">
                  <c:v>720.20870213360604</c:v>
                </c:pt>
                <c:pt idx="15">
                  <c:v>625.167209201399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Děčín</c:v>
                </c:pt>
                <c:pt idx="2">
                  <c:v>Jihlava</c:v>
                </c:pt>
                <c:pt idx="3">
                  <c:v>Česká Lípa</c:v>
                </c:pt>
                <c:pt idx="4">
                  <c:v>Zlín</c:v>
                </c:pt>
                <c:pt idx="5">
                  <c:v>České Budějovice</c:v>
                </c:pt>
                <c:pt idx="6">
                  <c:v>Prachatice</c:v>
                </c:pt>
                <c:pt idx="7">
                  <c:v>Svitavy</c:v>
                </c:pt>
                <c:pt idx="8">
                  <c:v>Olomouc</c:v>
                </c:pt>
                <c:pt idx="9">
                  <c:v>Český Krumlov</c:v>
                </c:pt>
                <c:pt idx="10">
                  <c:v>Most</c:v>
                </c:pt>
                <c:pt idx="11">
                  <c:v>Blansko</c:v>
                </c:pt>
                <c:pt idx="12">
                  <c:v>Vsetín</c:v>
                </c:pt>
                <c:pt idx="13">
                  <c:v>Teplice</c:v>
                </c:pt>
                <c:pt idx="14">
                  <c:v>Frýdek-Místek</c:v>
                </c:pt>
                <c:pt idx="15">
                  <c:v>ČR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0">
                  <c:v>796.39127270265203</c:v>
                </c:pt>
                <c:pt idx="1">
                  <c:v>765.77480662642199</c:v>
                </c:pt>
                <c:pt idx="2">
                  <c:v>745.414862533882</c:v>
                </c:pt>
                <c:pt idx="3">
                  <c:v>747.33785091965103</c:v>
                </c:pt>
                <c:pt idx="4">
                  <c:v>689.79191451171903</c:v>
                </c:pt>
                <c:pt idx="5">
                  <c:v>694.22111963573798</c:v>
                </c:pt>
                <c:pt idx="6">
                  <c:v>643.41480638706798</c:v>
                </c:pt>
                <c:pt idx="7">
                  <c:v>625.88059386771204</c:v>
                </c:pt>
                <c:pt idx="8">
                  <c:v>608.14024597404295</c:v>
                </c:pt>
                <c:pt idx="9">
                  <c:v>654.68841380206595</c:v>
                </c:pt>
                <c:pt idx="10">
                  <c:v>697.35381530418499</c:v>
                </c:pt>
                <c:pt idx="11">
                  <c:v>586.42427796510697</c:v>
                </c:pt>
                <c:pt idx="12">
                  <c:v>630.69474095469297</c:v>
                </c:pt>
                <c:pt idx="13">
                  <c:v>636.853849014503</c:v>
                </c:pt>
                <c:pt idx="14">
                  <c:v>626.57225379670103</c:v>
                </c:pt>
                <c:pt idx="15">
                  <c:v>472.62285674156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Děčín</c:v>
                </c:pt>
                <c:pt idx="2">
                  <c:v>Jihlava</c:v>
                </c:pt>
                <c:pt idx="3">
                  <c:v>Česká Lípa</c:v>
                </c:pt>
                <c:pt idx="4">
                  <c:v>Zlín</c:v>
                </c:pt>
                <c:pt idx="5">
                  <c:v>České Budějovice</c:v>
                </c:pt>
                <c:pt idx="6">
                  <c:v>Prachatice</c:v>
                </c:pt>
                <c:pt idx="7">
                  <c:v>Svitavy</c:v>
                </c:pt>
                <c:pt idx="8">
                  <c:v>Olomouc</c:v>
                </c:pt>
                <c:pt idx="9">
                  <c:v>Český Krumlov</c:v>
                </c:pt>
                <c:pt idx="10">
                  <c:v>Most</c:v>
                </c:pt>
                <c:pt idx="11">
                  <c:v>Blansko</c:v>
                </c:pt>
                <c:pt idx="12">
                  <c:v>Vsetín</c:v>
                </c:pt>
                <c:pt idx="13">
                  <c:v>Teplice</c:v>
                </c:pt>
                <c:pt idx="14">
                  <c:v>Frýdek-Místek</c:v>
                </c:pt>
                <c:pt idx="15">
                  <c:v>ČR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0">
                  <c:v>793.00597505035603</c:v>
                </c:pt>
                <c:pt idx="1">
                  <c:v>747.24799678868601</c:v>
                </c:pt>
                <c:pt idx="2">
                  <c:v>725.173372760235</c:v>
                </c:pt>
                <c:pt idx="3">
                  <c:v>722.16844143271999</c:v>
                </c:pt>
                <c:pt idx="4">
                  <c:v>693.96614697472501</c:v>
                </c:pt>
                <c:pt idx="5">
                  <c:v>687.07472575713405</c:v>
                </c:pt>
                <c:pt idx="6">
                  <c:v>676.76252501078795</c:v>
                </c:pt>
                <c:pt idx="7">
                  <c:v>668.05325256630204</c:v>
                </c:pt>
                <c:pt idx="8">
                  <c:v>659.52639804307898</c:v>
                </c:pt>
                <c:pt idx="9">
                  <c:v>654.68841380206595</c:v>
                </c:pt>
                <c:pt idx="10">
                  <c:v>653.48945464962196</c:v>
                </c:pt>
                <c:pt idx="11">
                  <c:v>651.48072130186097</c:v>
                </c:pt>
                <c:pt idx="12">
                  <c:v>649.53186264249905</c:v>
                </c:pt>
                <c:pt idx="13">
                  <c:v>637.62861038799997</c:v>
                </c:pt>
                <c:pt idx="14">
                  <c:v>633.09419547190896</c:v>
                </c:pt>
                <c:pt idx="15">
                  <c:v>474.42761736344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2B-482C-9C0E-781B78408E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Žďár nad Sázavou</c:v>
                </c:pt>
                <c:pt idx="1">
                  <c:v>Děčín</c:v>
                </c:pt>
                <c:pt idx="2">
                  <c:v>Jihlava</c:v>
                </c:pt>
                <c:pt idx="3">
                  <c:v>Česká Lípa</c:v>
                </c:pt>
                <c:pt idx="4">
                  <c:v>Zlín</c:v>
                </c:pt>
                <c:pt idx="5">
                  <c:v>České Budějovice</c:v>
                </c:pt>
                <c:pt idx="6">
                  <c:v>Prachatice</c:v>
                </c:pt>
                <c:pt idx="7">
                  <c:v>Svitavy</c:v>
                </c:pt>
                <c:pt idx="8">
                  <c:v>Olomouc</c:v>
                </c:pt>
                <c:pt idx="9">
                  <c:v>Český Krumlov</c:v>
                </c:pt>
                <c:pt idx="10">
                  <c:v>Most</c:v>
                </c:pt>
                <c:pt idx="11">
                  <c:v>Blansko</c:v>
                </c:pt>
                <c:pt idx="12">
                  <c:v>Vsetín</c:v>
                </c:pt>
                <c:pt idx="13">
                  <c:v>Teplice</c:v>
                </c:pt>
                <c:pt idx="14">
                  <c:v>Frýdek-Místek</c:v>
                </c:pt>
                <c:pt idx="15">
                  <c:v>ČR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793.00597505035603</c:v>
                </c:pt>
                <c:pt idx="1">
                  <c:v>747.24799678868601</c:v>
                </c:pt>
                <c:pt idx="2">
                  <c:v>725.173372760235</c:v>
                </c:pt>
                <c:pt idx="3">
                  <c:v>722.16844143271999</c:v>
                </c:pt>
                <c:pt idx="4">
                  <c:v>693.96614697472501</c:v>
                </c:pt>
                <c:pt idx="5">
                  <c:v>687.07472575713405</c:v>
                </c:pt>
                <c:pt idx="6">
                  <c:v>676.76252501078795</c:v>
                </c:pt>
                <c:pt idx="7">
                  <c:v>668.05325256630204</c:v>
                </c:pt>
                <c:pt idx="8">
                  <c:v>659.52639804307898</c:v>
                </c:pt>
                <c:pt idx="9">
                  <c:v>654.68841380206595</c:v>
                </c:pt>
                <c:pt idx="10">
                  <c:v>653.48945464962196</c:v>
                </c:pt>
                <c:pt idx="11">
                  <c:v>651.48072130186097</c:v>
                </c:pt>
                <c:pt idx="12">
                  <c:v>649.53186264249905</c:v>
                </c:pt>
                <c:pt idx="13">
                  <c:v>637.62861038799997</c:v>
                </c:pt>
                <c:pt idx="14">
                  <c:v>633.09419547190896</c:v>
                </c:pt>
                <c:pt idx="15">
                  <c:v>474.42761736344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1</c:f>
              <c:strCache>
                <c:ptCount val="110"/>
                <c:pt idx="0">
                  <c:v>01.01.2021</c:v>
                </c:pt>
                <c:pt idx="1">
                  <c:v>02.01.2021</c:v>
                </c:pt>
                <c:pt idx="2">
                  <c:v>03.01.2021</c:v>
                </c:pt>
                <c:pt idx="3">
                  <c:v>04.01.2021</c:v>
                </c:pt>
                <c:pt idx="4">
                  <c:v>05.01.2021</c:v>
                </c:pt>
                <c:pt idx="5">
                  <c:v>06.01.2021</c:v>
                </c:pt>
                <c:pt idx="6">
                  <c:v>07.01.2021</c:v>
                </c:pt>
                <c:pt idx="7">
                  <c:v>08.01.2021</c:v>
                </c:pt>
                <c:pt idx="8">
                  <c:v>09.01.2021</c:v>
                </c:pt>
                <c:pt idx="9">
                  <c:v>10.01.2021</c:v>
                </c:pt>
                <c:pt idx="10">
                  <c:v>11.01.2021</c:v>
                </c:pt>
                <c:pt idx="11">
                  <c:v>12.01.2021</c:v>
                </c:pt>
                <c:pt idx="12">
                  <c:v>13.01.2021</c:v>
                </c:pt>
                <c:pt idx="13">
                  <c:v>14.01.2021</c:v>
                </c:pt>
                <c:pt idx="14">
                  <c:v>15.01.2021</c:v>
                </c:pt>
                <c:pt idx="15">
                  <c:v>16.01.2021</c:v>
                </c:pt>
                <c:pt idx="16">
                  <c:v>17.01.2021</c:v>
                </c:pt>
                <c:pt idx="17">
                  <c:v>18.01.2021</c:v>
                </c:pt>
                <c:pt idx="18">
                  <c:v>19.01.2021</c:v>
                </c:pt>
                <c:pt idx="19">
                  <c:v>20.01.2021</c:v>
                </c:pt>
                <c:pt idx="20">
                  <c:v>21.01.2021</c:v>
                </c:pt>
                <c:pt idx="21">
                  <c:v>22.01.2021</c:v>
                </c:pt>
                <c:pt idx="22">
                  <c:v>23.01.2021</c:v>
                </c:pt>
                <c:pt idx="23">
                  <c:v>24.01.2021</c:v>
                </c:pt>
                <c:pt idx="24">
                  <c:v>25.01.2021</c:v>
                </c:pt>
                <c:pt idx="25">
                  <c:v>26.01.2021</c:v>
                </c:pt>
                <c:pt idx="26">
                  <c:v>27.01.2021</c:v>
                </c:pt>
                <c:pt idx="27">
                  <c:v>28.01.2021</c:v>
                </c:pt>
                <c:pt idx="28">
                  <c:v>29.01.2021</c:v>
                </c:pt>
                <c:pt idx="29">
                  <c:v>30.01.2021</c:v>
                </c:pt>
                <c:pt idx="30">
                  <c:v>31.01.2021</c:v>
                </c:pt>
                <c:pt idx="31">
                  <c:v>01.02.2021</c:v>
                </c:pt>
                <c:pt idx="32">
                  <c:v>02.02.2021</c:v>
                </c:pt>
                <c:pt idx="33">
                  <c:v>03.02.2021</c:v>
                </c:pt>
                <c:pt idx="34">
                  <c:v>04.02.2021</c:v>
                </c:pt>
                <c:pt idx="35">
                  <c:v>05.02.2021</c:v>
                </c:pt>
                <c:pt idx="36">
                  <c:v>06.02.2021</c:v>
                </c:pt>
                <c:pt idx="37">
                  <c:v>07.02.2021</c:v>
                </c:pt>
                <c:pt idx="38">
                  <c:v>08.02.2021</c:v>
                </c:pt>
                <c:pt idx="39">
                  <c:v>09.02.2021</c:v>
                </c:pt>
                <c:pt idx="40">
                  <c:v>10.02.2021</c:v>
                </c:pt>
                <c:pt idx="41">
                  <c:v>11.02.2021</c:v>
                </c:pt>
                <c:pt idx="42">
                  <c:v>12.02.2021</c:v>
                </c:pt>
                <c:pt idx="43">
                  <c:v>13.02.2021</c:v>
                </c:pt>
                <c:pt idx="44">
                  <c:v>14.02.2021</c:v>
                </c:pt>
                <c:pt idx="45">
                  <c:v>15.02.2021</c:v>
                </c:pt>
                <c:pt idx="46">
                  <c:v>16.02.2021</c:v>
                </c:pt>
                <c:pt idx="47">
                  <c:v>17.02.2021</c:v>
                </c:pt>
                <c:pt idx="48">
                  <c:v>18.02.2021</c:v>
                </c:pt>
                <c:pt idx="49">
                  <c:v>19.02.2021</c:v>
                </c:pt>
                <c:pt idx="50">
                  <c:v>20.02.2021</c:v>
                </c:pt>
                <c:pt idx="51">
                  <c:v>21.02.2021</c:v>
                </c:pt>
                <c:pt idx="52">
                  <c:v>22.02.2021</c:v>
                </c:pt>
                <c:pt idx="53">
                  <c:v>23.02.2021</c:v>
                </c:pt>
                <c:pt idx="54">
                  <c:v>24.02.2021</c:v>
                </c:pt>
                <c:pt idx="55">
                  <c:v>25.02.2021</c:v>
                </c:pt>
                <c:pt idx="56">
                  <c:v>26.02.2021</c:v>
                </c:pt>
                <c:pt idx="57">
                  <c:v>27.02.2021</c:v>
                </c:pt>
                <c:pt idx="58">
                  <c:v>28.02.2021</c:v>
                </c:pt>
                <c:pt idx="59">
                  <c:v>01.03.2021</c:v>
                </c:pt>
                <c:pt idx="60">
                  <c:v>02.03.2021</c:v>
                </c:pt>
                <c:pt idx="61">
                  <c:v>03.03.2021</c:v>
                </c:pt>
                <c:pt idx="62">
                  <c:v>04.03.2021</c:v>
                </c:pt>
                <c:pt idx="63">
                  <c:v>05.03.2021</c:v>
                </c:pt>
                <c:pt idx="64">
                  <c:v>06.03.2021</c:v>
                </c:pt>
                <c:pt idx="65">
                  <c:v>07.03.2021</c:v>
                </c:pt>
                <c:pt idx="66">
                  <c:v>08.03.2021</c:v>
                </c:pt>
                <c:pt idx="67">
                  <c:v>09.03.2021</c:v>
                </c:pt>
                <c:pt idx="68">
                  <c:v>10.03.2021</c:v>
                </c:pt>
                <c:pt idx="69">
                  <c:v>11.03.2021</c:v>
                </c:pt>
                <c:pt idx="70">
                  <c:v>12.03.2021</c:v>
                </c:pt>
                <c:pt idx="71">
                  <c:v>13.03.2021</c:v>
                </c:pt>
                <c:pt idx="72">
                  <c:v>14.03.2021</c:v>
                </c:pt>
                <c:pt idx="73">
                  <c:v>15.03.2021</c:v>
                </c:pt>
                <c:pt idx="74">
                  <c:v>16.03.2021</c:v>
                </c:pt>
                <c:pt idx="75">
                  <c:v>17.03.2021</c:v>
                </c:pt>
                <c:pt idx="76">
                  <c:v>18.03.2021</c:v>
                </c:pt>
                <c:pt idx="77">
                  <c:v>19.03.2021</c:v>
                </c:pt>
                <c:pt idx="78">
                  <c:v>20.03.2021</c:v>
                </c:pt>
                <c:pt idx="79">
                  <c:v>21.03.2021</c:v>
                </c:pt>
                <c:pt idx="80">
                  <c:v>22.03.2021</c:v>
                </c:pt>
                <c:pt idx="81">
                  <c:v>23.03.2021</c:v>
                </c:pt>
                <c:pt idx="82">
                  <c:v>24.03.2021</c:v>
                </c:pt>
                <c:pt idx="83">
                  <c:v>25.03.2021</c:v>
                </c:pt>
                <c:pt idx="84">
                  <c:v>26.03.2021</c:v>
                </c:pt>
                <c:pt idx="85">
                  <c:v>27.03.2021</c:v>
                </c:pt>
                <c:pt idx="86">
                  <c:v>28.03.2021</c:v>
                </c:pt>
                <c:pt idx="87">
                  <c:v>29.03.2021</c:v>
                </c:pt>
                <c:pt idx="88">
                  <c:v>30.03.2021</c:v>
                </c:pt>
                <c:pt idx="89">
                  <c:v>31.03.2021</c:v>
                </c:pt>
                <c:pt idx="90">
                  <c:v>01.04.2021</c:v>
                </c:pt>
                <c:pt idx="91">
                  <c:v>02.04.2021</c:v>
                </c:pt>
                <c:pt idx="92">
                  <c:v>03.04.2021</c:v>
                </c:pt>
                <c:pt idx="93">
                  <c:v>04.04.2021</c:v>
                </c:pt>
                <c:pt idx="94">
                  <c:v>05.04.2021</c:v>
                </c:pt>
                <c:pt idx="95">
                  <c:v>06.04.2021</c:v>
                </c:pt>
                <c:pt idx="96">
                  <c:v>07.04.2021</c:v>
                </c:pt>
                <c:pt idx="97">
                  <c:v>08.04.2021</c:v>
                </c:pt>
                <c:pt idx="98">
                  <c:v>09.04.2021</c:v>
                </c:pt>
                <c:pt idx="99">
                  <c:v>10.04.2021</c:v>
                </c:pt>
                <c:pt idx="100">
                  <c:v>11.04.2021</c:v>
                </c:pt>
                <c:pt idx="101">
                  <c:v>12.04.2021</c:v>
                </c:pt>
                <c:pt idx="102">
                  <c:v>13.04.2021</c:v>
                </c:pt>
                <c:pt idx="103">
                  <c:v>14.04.2021</c:v>
                </c:pt>
                <c:pt idx="104">
                  <c:v>15.04.2021</c:v>
                </c:pt>
                <c:pt idx="105">
                  <c:v>16.04.2021</c:v>
                </c:pt>
                <c:pt idx="106">
                  <c:v>17.04.2021</c:v>
                </c:pt>
                <c:pt idx="107">
                  <c:v>18.04.2021</c:v>
                </c:pt>
                <c:pt idx="108">
                  <c:v>19.04.2021</c:v>
                </c:pt>
                <c:pt idx="109">
                  <c:v>20.04.2021</c:v>
                </c:pt>
              </c:strCache>
            </c:strRef>
          </c:cat>
          <c:val>
            <c:numRef>
              <c:f>Sheet1!$B$2:$B$111</c:f>
              <c:numCache>
                <c:formatCode>###0</c:formatCode>
                <c:ptCount val="110"/>
                <c:pt idx="0">
                  <c:v>288</c:v>
                </c:pt>
                <c:pt idx="1">
                  <c:v>384</c:v>
                </c:pt>
                <c:pt idx="2">
                  <c:v>348</c:v>
                </c:pt>
                <c:pt idx="3">
                  <c:v>743</c:v>
                </c:pt>
                <c:pt idx="4">
                  <c:v>1258</c:v>
                </c:pt>
                <c:pt idx="5">
                  <c:v>933</c:v>
                </c:pt>
                <c:pt idx="6">
                  <c:v>1028</c:v>
                </c:pt>
                <c:pt idx="7">
                  <c:v>824</c:v>
                </c:pt>
                <c:pt idx="8">
                  <c:v>453</c:v>
                </c:pt>
                <c:pt idx="9">
                  <c:v>329</c:v>
                </c:pt>
                <c:pt idx="10">
                  <c:v>496</c:v>
                </c:pt>
                <c:pt idx="11">
                  <c:v>731</c:v>
                </c:pt>
                <c:pt idx="12">
                  <c:v>593</c:v>
                </c:pt>
                <c:pt idx="13">
                  <c:v>389</c:v>
                </c:pt>
                <c:pt idx="14">
                  <c:v>484</c:v>
                </c:pt>
                <c:pt idx="15">
                  <c:v>313</c:v>
                </c:pt>
                <c:pt idx="16">
                  <c:v>130</c:v>
                </c:pt>
                <c:pt idx="17">
                  <c:v>280</c:v>
                </c:pt>
                <c:pt idx="18">
                  <c:v>502</c:v>
                </c:pt>
                <c:pt idx="19">
                  <c:v>461</c:v>
                </c:pt>
                <c:pt idx="20">
                  <c:v>220</c:v>
                </c:pt>
                <c:pt idx="21">
                  <c:v>443</c:v>
                </c:pt>
                <c:pt idx="22">
                  <c:v>226</c:v>
                </c:pt>
                <c:pt idx="23">
                  <c:v>130</c:v>
                </c:pt>
                <c:pt idx="24">
                  <c:v>299</c:v>
                </c:pt>
                <c:pt idx="25">
                  <c:v>390</c:v>
                </c:pt>
                <c:pt idx="26">
                  <c:v>331</c:v>
                </c:pt>
                <c:pt idx="27">
                  <c:v>216</c:v>
                </c:pt>
                <c:pt idx="28">
                  <c:v>265</c:v>
                </c:pt>
                <c:pt idx="29">
                  <c:v>207</c:v>
                </c:pt>
                <c:pt idx="30">
                  <c:v>86</c:v>
                </c:pt>
                <c:pt idx="31">
                  <c:v>241</c:v>
                </c:pt>
                <c:pt idx="32">
                  <c:v>274</c:v>
                </c:pt>
                <c:pt idx="33">
                  <c:v>250</c:v>
                </c:pt>
                <c:pt idx="34">
                  <c:v>295</c:v>
                </c:pt>
                <c:pt idx="35">
                  <c:v>230</c:v>
                </c:pt>
                <c:pt idx="36">
                  <c:v>177</c:v>
                </c:pt>
                <c:pt idx="37">
                  <c:v>61</c:v>
                </c:pt>
                <c:pt idx="38">
                  <c:v>140</c:v>
                </c:pt>
                <c:pt idx="39">
                  <c:v>274</c:v>
                </c:pt>
                <c:pt idx="40">
                  <c:v>246</c:v>
                </c:pt>
                <c:pt idx="41">
                  <c:v>187</c:v>
                </c:pt>
                <c:pt idx="42">
                  <c:v>227</c:v>
                </c:pt>
                <c:pt idx="43">
                  <c:v>133</c:v>
                </c:pt>
                <c:pt idx="44">
                  <c:v>72</c:v>
                </c:pt>
                <c:pt idx="45">
                  <c:v>215</c:v>
                </c:pt>
                <c:pt idx="46">
                  <c:v>300</c:v>
                </c:pt>
                <c:pt idx="47">
                  <c:v>239</c:v>
                </c:pt>
                <c:pt idx="48">
                  <c:v>314</c:v>
                </c:pt>
                <c:pt idx="49">
                  <c:v>270</c:v>
                </c:pt>
                <c:pt idx="50">
                  <c:v>223</c:v>
                </c:pt>
                <c:pt idx="51">
                  <c:v>126</c:v>
                </c:pt>
                <c:pt idx="52">
                  <c:v>249</c:v>
                </c:pt>
                <c:pt idx="53">
                  <c:v>428</c:v>
                </c:pt>
                <c:pt idx="54">
                  <c:v>403</c:v>
                </c:pt>
                <c:pt idx="55">
                  <c:v>374</c:v>
                </c:pt>
                <c:pt idx="56">
                  <c:v>370</c:v>
                </c:pt>
                <c:pt idx="57">
                  <c:v>328</c:v>
                </c:pt>
                <c:pt idx="58">
                  <c:v>106</c:v>
                </c:pt>
                <c:pt idx="59">
                  <c:v>320</c:v>
                </c:pt>
                <c:pt idx="60">
                  <c:v>463</c:v>
                </c:pt>
                <c:pt idx="61">
                  <c:v>473</c:v>
                </c:pt>
                <c:pt idx="62">
                  <c:v>380</c:v>
                </c:pt>
                <c:pt idx="63">
                  <c:v>308</c:v>
                </c:pt>
                <c:pt idx="64">
                  <c:v>408</c:v>
                </c:pt>
                <c:pt idx="65">
                  <c:v>166</c:v>
                </c:pt>
                <c:pt idx="66">
                  <c:v>302</c:v>
                </c:pt>
                <c:pt idx="67">
                  <c:v>453</c:v>
                </c:pt>
                <c:pt idx="68">
                  <c:v>498</c:v>
                </c:pt>
                <c:pt idx="69">
                  <c:v>361</c:v>
                </c:pt>
                <c:pt idx="70">
                  <c:v>548</c:v>
                </c:pt>
                <c:pt idx="71">
                  <c:v>380</c:v>
                </c:pt>
                <c:pt idx="72">
                  <c:v>105</c:v>
                </c:pt>
                <c:pt idx="73">
                  <c:v>308</c:v>
                </c:pt>
                <c:pt idx="74">
                  <c:v>544</c:v>
                </c:pt>
                <c:pt idx="75">
                  <c:v>465</c:v>
                </c:pt>
                <c:pt idx="76">
                  <c:v>394</c:v>
                </c:pt>
                <c:pt idx="77">
                  <c:v>331</c:v>
                </c:pt>
                <c:pt idx="78">
                  <c:v>279</c:v>
                </c:pt>
                <c:pt idx="79">
                  <c:v>122</c:v>
                </c:pt>
                <c:pt idx="80">
                  <c:v>236</c:v>
                </c:pt>
                <c:pt idx="81">
                  <c:v>510</c:v>
                </c:pt>
                <c:pt idx="82">
                  <c:v>428</c:v>
                </c:pt>
                <c:pt idx="83">
                  <c:v>371</c:v>
                </c:pt>
                <c:pt idx="84">
                  <c:v>341</c:v>
                </c:pt>
                <c:pt idx="85">
                  <c:v>299</c:v>
                </c:pt>
                <c:pt idx="86">
                  <c:v>138</c:v>
                </c:pt>
                <c:pt idx="87">
                  <c:v>267</c:v>
                </c:pt>
                <c:pt idx="88">
                  <c:v>543</c:v>
                </c:pt>
                <c:pt idx="89">
                  <c:v>395</c:v>
                </c:pt>
                <c:pt idx="90">
                  <c:v>501</c:v>
                </c:pt>
                <c:pt idx="91">
                  <c:v>256</c:v>
                </c:pt>
                <c:pt idx="92">
                  <c:v>176</c:v>
                </c:pt>
                <c:pt idx="93">
                  <c:v>151</c:v>
                </c:pt>
                <c:pt idx="94">
                  <c:v>103</c:v>
                </c:pt>
                <c:pt idx="95">
                  <c:v>178</c:v>
                </c:pt>
                <c:pt idx="96">
                  <c:v>501</c:v>
                </c:pt>
                <c:pt idx="97">
                  <c:v>400</c:v>
                </c:pt>
                <c:pt idx="98">
                  <c:v>302</c:v>
                </c:pt>
                <c:pt idx="99">
                  <c:v>234</c:v>
                </c:pt>
                <c:pt idx="100">
                  <c:v>87</c:v>
                </c:pt>
                <c:pt idx="101">
                  <c:v>188</c:v>
                </c:pt>
                <c:pt idx="102">
                  <c:v>397</c:v>
                </c:pt>
                <c:pt idx="103">
                  <c:v>270</c:v>
                </c:pt>
                <c:pt idx="104">
                  <c:v>263</c:v>
                </c:pt>
                <c:pt idx="105">
                  <c:v>255</c:v>
                </c:pt>
                <c:pt idx="106">
                  <c:v>191</c:v>
                </c:pt>
                <c:pt idx="107">
                  <c:v>107</c:v>
                </c:pt>
                <c:pt idx="108">
                  <c:v>209</c:v>
                </c:pt>
                <c:pt idx="109">
                  <c:v>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catAx>
        <c:axId val="417147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Algn val="ctr"/>
        <c:lblOffset val="100"/>
        <c:tickLblSkip val="2"/>
        <c:noMultiLvlLbl val="1"/>
      </c:catAx>
      <c:valAx>
        <c:axId val="419321824"/>
        <c:scaling>
          <c:orientation val="minMax"/>
          <c:max val="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  <c:pt idx="103">
                  <c:v>44300</c:v>
                </c:pt>
                <c:pt idx="104">
                  <c:v>44301</c:v>
                </c:pt>
                <c:pt idx="105">
                  <c:v>44302</c:v>
                </c:pt>
                <c:pt idx="106">
                  <c:v>44303</c:v>
                </c:pt>
                <c:pt idx="107">
                  <c:v>44304</c:v>
                </c:pt>
                <c:pt idx="108">
                  <c:v>44305</c:v>
                </c:pt>
                <c:pt idx="109">
                  <c:v>44306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55</c:v>
                </c:pt>
                <c:pt idx="1">
                  <c:v>1085</c:v>
                </c:pt>
                <c:pt idx="2">
                  <c:v>1163</c:v>
                </c:pt>
                <c:pt idx="3">
                  <c:v>2413</c:v>
                </c:pt>
                <c:pt idx="4">
                  <c:v>3136</c:v>
                </c:pt>
                <c:pt idx="5">
                  <c:v>3163</c:v>
                </c:pt>
                <c:pt idx="6">
                  <c:v>2944</c:v>
                </c:pt>
                <c:pt idx="7">
                  <c:v>2665</c:v>
                </c:pt>
                <c:pt idx="8">
                  <c:v>1664</c:v>
                </c:pt>
                <c:pt idx="9">
                  <c:v>813</c:v>
                </c:pt>
                <c:pt idx="10">
                  <c:v>1860</c:v>
                </c:pt>
                <c:pt idx="11">
                  <c:v>2027</c:v>
                </c:pt>
                <c:pt idx="12">
                  <c:v>2008</c:v>
                </c:pt>
                <c:pt idx="13">
                  <c:v>1496</c:v>
                </c:pt>
                <c:pt idx="14">
                  <c:v>1772</c:v>
                </c:pt>
                <c:pt idx="15">
                  <c:v>921</c:v>
                </c:pt>
                <c:pt idx="16">
                  <c:v>507</c:v>
                </c:pt>
                <c:pt idx="17">
                  <c:v>1340</c:v>
                </c:pt>
                <c:pt idx="18">
                  <c:v>1594</c:v>
                </c:pt>
                <c:pt idx="19">
                  <c:v>1487</c:v>
                </c:pt>
                <c:pt idx="20">
                  <c:v>1326</c:v>
                </c:pt>
                <c:pt idx="21">
                  <c:v>1478</c:v>
                </c:pt>
                <c:pt idx="22">
                  <c:v>723</c:v>
                </c:pt>
                <c:pt idx="23">
                  <c:v>411</c:v>
                </c:pt>
                <c:pt idx="24">
                  <c:v>1238</c:v>
                </c:pt>
                <c:pt idx="25">
                  <c:v>1411</c:v>
                </c:pt>
                <c:pt idx="26">
                  <c:v>1444</c:v>
                </c:pt>
                <c:pt idx="27">
                  <c:v>1327</c:v>
                </c:pt>
                <c:pt idx="28">
                  <c:v>1333</c:v>
                </c:pt>
                <c:pt idx="29">
                  <c:v>665</c:v>
                </c:pt>
                <c:pt idx="30">
                  <c:v>449</c:v>
                </c:pt>
                <c:pt idx="31">
                  <c:v>1202</c:v>
                </c:pt>
                <c:pt idx="32">
                  <c:v>1438</c:v>
                </c:pt>
                <c:pt idx="33">
                  <c:v>1432</c:v>
                </c:pt>
                <c:pt idx="34">
                  <c:v>1328</c:v>
                </c:pt>
                <c:pt idx="35">
                  <c:v>1412</c:v>
                </c:pt>
                <c:pt idx="36">
                  <c:v>771</c:v>
                </c:pt>
                <c:pt idx="37">
                  <c:v>448</c:v>
                </c:pt>
                <c:pt idx="38">
                  <c:v>1122</c:v>
                </c:pt>
                <c:pt idx="39">
                  <c:v>1466</c:v>
                </c:pt>
                <c:pt idx="40">
                  <c:v>1383</c:v>
                </c:pt>
                <c:pt idx="41">
                  <c:v>1387</c:v>
                </c:pt>
                <c:pt idx="42">
                  <c:v>1328</c:v>
                </c:pt>
                <c:pt idx="43">
                  <c:v>728</c:v>
                </c:pt>
                <c:pt idx="44">
                  <c:v>457</c:v>
                </c:pt>
                <c:pt idx="45">
                  <c:v>1302</c:v>
                </c:pt>
                <c:pt idx="46">
                  <c:v>1761</c:v>
                </c:pt>
                <c:pt idx="47">
                  <c:v>1459</c:v>
                </c:pt>
                <c:pt idx="48">
                  <c:v>1600</c:v>
                </c:pt>
                <c:pt idx="49">
                  <c:v>1717</c:v>
                </c:pt>
                <c:pt idx="50">
                  <c:v>945</c:v>
                </c:pt>
                <c:pt idx="51">
                  <c:v>581</c:v>
                </c:pt>
                <c:pt idx="52">
                  <c:v>1633</c:v>
                </c:pt>
                <c:pt idx="53">
                  <c:v>2109</c:v>
                </c:pt>
                <c:pt idx="54">
                  <c:v>1925</c:v>
                </c:pt>
                <c:pt idx="55">
                  <c:v>2007</c:v>
                </c:pt>
                <c:pt idx="56">
                  <c:v>2094</c:v>
                </c:pt>
                <c:pt idx="57">
                  <c:v>1051</c:v>
                </c:pt>
                <c:pt idx="58">
                  <c:v>657</c:v>
                </c:pt>
                <c:pt idx="59">
                  <c:v>1851</c:v>
                </c:pt>
                <c:pt idx="60">
                  <c:v>2400</c:v>
                </c:pt>
                <c:pt idx="61">
                  <c:v>2168</c:v>
                </c:pt>
                <c:pt idx="62">
                  <c:v>2054</c:v>
                </c:pt>
                <c:pt idx="63">
                  <c:v>1877</c:v>
                </c:pt>
                <c:pt idx="64">
                  <c:v>1311</c:v>
                </c:pt>
                <c:pt idx="65">
                  <c:v>645</c:v>
                </c:pt>
                <c:pt idx="66">
                  <c:v>1543</c:v>
                </c:pt>
                <c:pt idx="67">
                  <c:v>1984</c:v>
                </c:pt>
                <c:pt idx="68">
                  <c:v>2017</c:v>
                </c:pt>
                <c:pt idx="69">
                  <c:v>1628</c:v>
                </c:pt>
                <c:pt idx="70">
                  <c:v>2249</c:v>
                </c:pt>
                <c:pt idx="71">
                  <c:v>980</c:v>
                </c:pt>
                <c:pt idx="72">
                  <c:v>542</c:v>
                </c:pt>
                <c:pt idx="73">
                  <c:v>1624</c:v>
                </c:pt>
                <c:pt idx="74">
                  <c:v>2051</c:v>
                </c:pt>
                <c:pt idx="75">
                  <c:v>1788</c:v>
                </c:pt>
                <c:pt idx="76">
                  <c:v>1586</c:v>
                </c:pt>
                <c:pt idx="77">
                  <c:v>1430</c:v>
                </c:pt>
                <c:pt idx="78">
                  <c:v>843</c:v>
                </c:pt>
                <c:pt idx="79">
                  <c:v>440</c:v>
                </c:pt>
                <c:pt idx="80">
                  <c:v>1211</c:v>
                </c:pt>
                <c:pt idx="81">
                  <c:v>1622</c:v>
                </c:pt>
                <c:pt idx="82">
                  <c:v>1319</c:v>
                </c:pt>
                <c:pt idx="83">
                  <c:v>1288</c:v>
                </c:pt>
                <c:pt idx="84">
                  <c:v>1176</c:v>
                </c:pt>
                <c:pt idx="85">
                  <c:v>641</c:v>
                </c:pt>
                <c:pt idx="86">
                  <c:v>326</c:v>
                </c:pt>
                <c:pt idx="87">
                  <c:v>1117</c:v>
                </c:pt>
                <c:pt idx="88">
                  <c:v>1294</c:v>
                </c:pt>
                <c:pt idx="89">
                  <c:v>1193</c:v>
                </c:pt>
                <c:pt idx="90">
                  <c:v>989</c:v>
                </c:pt>
                <c:pt idx="91">
                  <c:v>551</c:v>
                </c:pt>
                <c:pt idx="92">
                  <c:v>378</c:v>
                </c:pt>
                <c:pt idx="93">
                  <c:v>327</c:v>
                </c:pt>
                <c:pt idx="94">
                  <c:v>291</c:v>
                </c:pt>
                <c:pt idx="95">
                  <c:v>816</c:v>
                </c:pt>
                <c:pt idx="96">
                  <c:v>980</c:v>
                </c:pt>
                <c:pt idx="97">
                  <c:v>782</c:v>
                </c:pt>
                <c:pt idx="98">
                  <c:v>717</c:v>
                </c:pt>
                <c:pt idx="99">
                  <c:v>363</c:v>
                </c:pt>
                <c:pt idx="100">
                  <c:v>203</c:v>
                </c:pt>
                <c:pt idx="101">
                  <c:v>579</c:v>
                </c:pt>
                <c:pt idx="102">
                  <c:v>693</c:v>
                </c:pt>
                <c:pt idx="103">
                  <c:v>582</c:v>
                </c:pt>
                <c:pt idx="104">
                  <c:v>467</c:v>
                </c:pt>
                <c:pt idx="105">
                  <c:v>512</c:v>
                </c:pt>
                <c:pt idx="106">
                  <c:v>246</c:v>
                </c:pt>
                <c:pt idx="107">
                  <c:v>143</c:v>
                </c:pt>
                <c:pt idx="108">
                  <c:v>466</c:v>
                </c:pt>
                <c:pt idx="109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6C-4866-B775-0CF9882990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  <c:pt idx="103">
                  <c:v>44300</c:v>
                </c:pt>
                <c:pt idx="104">
                  <c:v>44301</c:v>
                </c:pt>
                <c:pt idx="105">
                  <c:v>44302</c:v>
                </c:pt>
                <c:pt idx="106">
                  <c:v>44303</c:v>
                </c:pt>
                <c:pt idx="107">
                  <c:v>44304</c:v>
                </c:pt>
                <c:pt idx="108">
                  <c:v>44305</c:v>
                </c:pt>
                <c:pt idx="109">
                  <c:v>44306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55</c:v>
                </c:pt>
                <c:pt idx="1">
                  <c:v>1085</c:v>
                </c:pt>
                <c:pt idx="2">
                  <c:v>1163</c:v>
                </c:pt>
                <c:pt idx="3">
                  <c:v>2413</c:v>
                </c:pt>
                <c:pt idx="4">
                  <c:v>3136</c:v>
                </c:pt>
                <c:pt idx="5">
                  <c:v>3163</c:v>
                </c:pt>
                <c:pt idx="6">
                  <c:v>2944</c:v>
                </c:pt>
                <c:pt idx="7">
                  <c:v>2665</c:v>
                </c:pt>
                <c:pt idx="8">
                  <c:v>1664</c:v>
                </c:pt>
                <c:pt idx="9">
                  <c:v>813</c:v>
                </c:pt>
                <c:pt idx="10">
                  <c:v>1860</c:v>
                </c:pt>
                <c:pt idx="11">
                  <c:v>2027</c:v>
                </c:pt>
                <c:pt idx="12">
                  <c:v>2008</c:v>
                </c:pt>
                <c:pt idx="13">
                  <c:v>1496</c:v>
                </c:pt>
                <c:pt idx="14">
                  <c:v>1772</c:v>
                </c:pt>
                <c:pt idx="15">
                  <c:v>921</c:v>
                </c:pt>
                <c:pt idx="16">
                  <c:v>507</c:v>
                </c:pt>
                <c:pt idx="17">
                  <c:v>1340</c:v>
                </c:pt>
                <c:pt idx="18">
                  <c:v>1594</c:v>
                </c:pt>
                <c:pt idx="19">
                  <c:v>1487</c:v>
                </c:pt>
                <c:pt idx="20">
                  <c:v>1326</c:v>
                </c:pt>
                <c:pt idx="21">
                  <c:v>1478</c:v>
                </c:pt>
                <c:pt idx="22">
                  <c:v>723</c:v>
                </c:pt>
                <c:pt idx="23">
                  <c:v>411</c:v>
                </c:pt>
                <c:pt idx="24">
                  <c:v>1238</c:v>
                </c:pt>
                <c:pt idx="25">
                  <c:v>1411</c:v>
                </c:pt>
                <c:pt idx="26">
                  <c:v>1444</c:v>
                </c:pt>
                <c:pt idx="27">
                  <c:v>1327</c:v>
                </c:pt>
                <c:pt idx="28">
                  <c:v>1333</c:v>
                </c:pt>
                <c:pt idx="29">
                  <c:v>665</c:v>
                </c:pt>
                <c:pt idx="30">
                  <c:v>449</c:v>
                </c:pt>
                <c:pt idx="31">
                  <c:v>1202</c:v>
                </c:pt>
                <c:pt idx="32">
                  <c:v>1438</c:v>
                </c:pt>
                <c:pt idx="33">
                  <c:v>1432</c:v>
                </c:pt>
                <c:pt idx="34">
                  <c:v>1328</c:v>
                </c:pt>
                <c:pt idx="35">
                  <c:v>1412</c:v>
                </c:pt>
                <c:pt idx="36">
                  <c:v>771</c:v>
                </c:pt>
                <c:pt idx="37">
                  <c:v>448</c:v>
                </c:pt>
                <c:pt idx="38">
                  <c:v>1122</c:v>
                </c:pt>
                <c:pt idx="39">
                  <c:v>1466</c:v>
                </c:pt>
                <c:pt idx="40">
                  <c:v>1383</c:v>
                </c:pt>
                <c:pt idx="41">
                  <c:v>1387</c:v>
                </c:pt>
                <c:pt idx="42">
                  <c:v>1328</c:v>
                </c:pt>
                <c:pt idx="43">
                  <c:v>728</c:v>
                </c:pt>
                <c:pt idx="44">
                  <c:v>457</c:v>
                </c:pt>
                <c:pt idx="45">
                  <c:v>1302</c:v>
                </c:pt>
                <c:pt idx="46">
                  <c:v>1761</c:v>
                </c:pt>
                <c:pt idx="47">
                  <c:v>1459</c:v>
                </c:pt>
                <c:pt idx="48">
                  <c:v>1600</c:v>
                </c:pt>
                <c:pt idx="49">
                  <c:v>1717</c:v>
                </c:pt>
                <c:pt idx="50">
                  <c:v>945</c:v>
                </c:pt>
                <c:pt idx="51">
                  <c:v>581</c:v>
                </c:pt>
                <c:pt idx="52">
                  <c:v>1633</c:v>
                </c:pt>
                <c:pt idx="53">
                  <c:v>2109</c:v>
                </c:pt>
                <c:pt idx="54">
                  <c:v>1925</c:v>
                </c:pt>
                <c:pt idx="55">
                  <c:v>2007</c:v>
                </c:pt>
                <c:pt idx="56">
                  <c:v>2094</c:v>
                </c:pt>
                <c:pt idx="57">
                  <c:v>1051</c:v>
                </c:pt>
                <c:pt idx="58">
                  <c:v>657</c:v>
                </c:pt>
                <c:pt idx="59">
                  <c:v>1851</c:v>
                </c:pt>
                <c:pt idx="60">
                  <c:v>2400</c:v>
                </c:pt>
                <c:pt idx="61">
                  <c:v>2168</c:v>
                </c:pt>
                <c:pt idx="62">
                  <c:v>2054</c:v>
                </c:pt>
                <c:pt idx="63">
                  <c:v>1877</c:v>
                </c:pt>
                <c:pt idx="64">
                  <c:v>1311</c:v>
                </c:pt>
                <c:pt idx="65">
                  <c:v>645</c:v>
                </c:pt>
                <c:pt idx="66">
                  <c:v>1543</c:v>
                </c:pt>
                <c:pt idx="67">
                  <c:v>1984</c:v>
                </c:pt>
                <c:pt idx="68">
                  <c:v>2017</c:v>
                </c:pt>
                <c:pt idx="69">
                  <c:v>1628</c:v>
                </c:pt>
                <c:pt idx="70">
                  <c:v>2249</c:v>
                </c:pt>
                <c:pt idx="71">
                  <c:v>980</c:v>
                </c:pt>
                <c:pt idx="72">
                  <c:v>542</c:v>
                </c:pt>
                <c:pt idx="73">
                  <c:v>1624</c:v>
                </c:pt>
                <c:pt idx="74">
                  <c:v>2051</c:v>
                </c:pt>
                <c:pt idx="75">
                  <c:v>1788</c:v>
                </c:pt>
                <c:pt idx="76">
                  <c:v>1586</c:v>
                </c:pt>
                <c:pt idx="77">
                  <c:v>1430</c:v>
                </c:pt>
                <c:pt idx="78">
                  <c:v>843</c:v>
                </c:pt>
                <c:pt idx="79">
                  <c:v>440</c:v>
                </c:pt>
                <c:pt idx="80">
                  <c:v>1211</c:v>
                </c:pt>
                <c:pt idx="81">
                  <c:v>1622</c:v>
                </c:pt>
                <c:pt idx="82">
                  <c:v>1319</c:v>
                </c:pt>
                <c:pt idx="83">
                  <c:v>1288</c:v>
                </c:pt>
                <c:pt idx="84">
                  <c:v>1176</c:v>
                </c:pt>
                <c:pt idx="85">
                  <c:v>641</c:v>
                </c:pt>
                <c:pt idx="86">
                  <c:v>326</c:v>
                </c:pt>
                <c:pt idx="87">
                  <c:v>1117</c:v>
                </c:pt>
                <c:pt idx="88">
                  <c:v>1294</c:v>
                </c:pt>
                <c:pt idx="89">
                  <c:v>1193</c:v>
                </c:pt>
                <c:pt idx="90">
                  <c:v>989</c:v>
                </c:pt>
                <c:pt idx="91">
                  <c:v>551</c:v>
                </c:pt>
                <c:pt idx="92">
                  <c:v>378</c:v>
                </c:pt>
                <c:pt idx="93">
                  <c:v>327</c:v>
                </c:pt>
                <c:pt idx="94">
                  <c:v>291</c:v>
                </c:pt>
                <c:pt idx="95">
                  <c:v>816</c:v>
                </c:pt>
                <c:pt idx="96">
                  <c:v>980</c:v>
                </c:pt>
                <c:pt idx="97">
                  <c:v>782</c:v>
                </c:pt>
                <c:pt idx="98">
                  <c:v>717</c:v>
                </c:pt>
                <c:pt idx="99">
                  <c:v>363</c:v>
                </c:pt>
                <c:pt idx="100">
                  <c:v>203</c:v>
                </c:pt>
                <c:pt idx="101">
                  <c:v>579</c:v>
                </c:pt>
                <c:pt idx="102">
                  <c:v>693</c:v>
                </c:pt>
                <c:pt idx="103">
                  <c:v>582</c:v>
                </c:pt>
                <c:pt idx="104">
                  <c:v>467</c:v>
                </c:pt>
                <c:pt idx="105">
                  <c:v>512</c:v>
                </c:pt>
                <c:pt idx="106">
                  <c:v>246</c:v>
                </c:pt>
                <c:pt idx="107">
                  <c:v>143</c:v>
                </c:pt>
                <c:pt idx="108">
                  <c:v>466</c:v>
                </c:pt>
                <c:pt idx="109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2F-4F92-A33B-6CBE851DF9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55</c:v>
                </c:pt>
                <c:pt idx="1">
                  <c:v>8436</c:v>
                </c:pt>
                <c:pt idx="2">
                  <c:v>8381</c:v>
                </c:pt>
                <c:pt idx="3">
                  <c:v>8386</c:v>
                </c:pt>
                <c:pt idx="4">
                  <c:v>8448</c:v>
                </c:pt>
                <c:pt idx="5">
                  <c:v>8106</c:v>
                </c:pt>
                <c:pt idx="6">
                  <c:v>8332</c:v>
                </c:pt>
                <c:pt idx="7">
                  <c:v>9006</c:v>
                </c:pt>
                <c:pt idx="8">
                  <c:v>8981</c:v>
                </c:pt>
                <c:pt idx="9">
                  <c:v>9003</c:v>
                </c:pt>
                <c:pt idx="10">
                  <c:v>8965</c:v>
                </c:pt>
                <c:pt idx="11">
                  <c:v>8933</c:v>
                </c:pt>
                <c:pt idx="12">
                  <c:v>8533</c:v>
                </c:pt>
                <c:pt idx="13">
                  <c:v>8747</c:v>
                </c:pt>
                <c:pt idx="14">
                  <c:v>9463</c:v>
                </c:pt>
                <c:pt idx="15">
                  <c:v>9331</c:v>
                </c:pt>
                <c:pt idx="16">
                  <c:v>9162</c:v>
                </c:pt>
                <c:pt idx="17">
                  <c:v>8959</c:v>
                </c:pt>
                <c:pt idx="18">
                  <c:v>8768</c:v>
                </c:pt>
                <c:pt idx="19">
                  <c:v>8212</c:v>
                </c:pt>
                <c:pt idx="20">
                  <c:v>8325</c:v>
                </c:pt>
                <c:pt idx="21">
                  <c:v>8962</c:v>
                </c:pt>
                <c:pt idx="22">
                  <c:v>8630</c:v>
                </c:pt>
                <c:pt idx="23">
                  <c:v>8315</c:v>
                </c:pt>
                <c:pt idx="24">
                  <c:v>8162</c:v>
                </c:pt>
                <c:pt idx="25">
                  <c:v>8037</c:v>
                </c:pt>
                <c:pt idx="26">
                  <c:v>7516</c:v>
                </c:pt>
                <c:pt idx="27">
                  <c:v>7567</c:v>
                </c:pt>
                <c:pt idx="28">
                  <c:v>8105</c:v>
                </c:pt>
                <c:pt idx="29">
                  <c:v>7836</c:v>
                </c:pt>
                <c:pt idx="30">
                  <c:v>7516</c:v>
                </c:pt>
                <c:pt idx="31">
                  <c:v>7215</c:v>
                </c:pt>
                <c:pt idx="32">
                  <c:v>6389</c:v>
                </c:pt>
                <c:pt idx="33">
                  <c:v>6235</c:v>
                </c:pt>
                <c:pt idx="34">
                  <c:v>6330</c:v>
                </c:pt>
                <c:pt idx="35">
                  <c:v>6404</c:v>
                </c:pt>
                <c:pt idx="36">
                  <c:v>7082</c:v>
                </c:pt>
                <c:pt idx="37">
                  <c:v>6724</c:v>
                </c:pt>
                <c:pt idx="38">
                  <c:v>6248</c:v>
                </c:pt>
                <c:pt idx="39">
                  <c:v>5938</c:v>
                </c:pt>
                <c:pt idx="40">
                  <c:v>5303</c:v>
                </c:pt>
                <c:pt idx="41">
                  <c:v>5259</c:v>
                </c:pt>
                <c:pt idx="42">
                  <c:v>5559</c:v>
                </c:pt>
                <c:pt idx="43">
                  <c:v>5245</c:v>
                </c:pt>
                <c:pt idx="44">
                  <c:v>4956</c:v>
                </c:pt>
                <c:pt idx="45">
                  <c:v>4689</c:v>
                </c:pt>
                <c:pt idx="46">
                  <c:v>4437</c:v>
                </c:pt>
                <c:pt idx="47">
                  <c:v>4022</c:v>
                </c:pt>
                <c:pt idx="48">
                  <c:v>4044</c:v>
                </c:pt>
                <c:pt idx="49">
                  <c:v>4306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04-4534-8499-404B3C80ED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04-4534-8499-404B3C80EDB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04-4534-8499-404B3C80EDB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504-4534-8499-404B3C80EDB0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9</c:v>
                </c:pt>
                <c:pt idx="1">
                  <c:v>8159</c:v>
                </c:pt>
                <c:pt idx="2">
                  <c:v>8159</c:v>
                </c:pt>
                <c:pt idx="3">
                  <c:v>8159</c:v>
                </c:pt>
                <c:pt idx="4">
                  <c:v>8159</c:v>
                </c:pt>
                <c:pt idx="5">
                  <c:v>8159</c:v>
                </c:pt>
                <c:pt idx="6">
                  <c:v>8159</c:v>
                </c:pt>
                <c:pt idx="7">
                  <c:v>8159</c:v>
                </c:pt>
                <c:pt idx="8">
                  <c:v>8159</c:v>
                </c:pt>
                <c:pt idx="9">
                  <c:v>8159</c:v>
                </c:pt>
                <c:pt idx="10">
                  <c:v>8159</c:v>
                </c:pt>
                <c:pt idx="11">
                  <c:v>8159</c:v>
                </c:pt>
                <c:pt idx="12">
                  <c:v>8159</c:v>
                </c:pt>
                <c:pt idx="13">
                  <c:v>8159</c:v>
                </c:pt>
                <c:pt idx="14">
                  <c:v>8159</c:v>
                </c:pt>
                <c:pt idx="15">
                  <c:v>8159</c:v>
                </c:pt>
                <c:pt idx="16">
                  <c:v>8159</c:v>
                </c:pt>
                <c:pt idx="17">
                  <c:v>8159</c:v>
                </c:pt>
                <c:pt idx="18">
                  <c:v>8159</c:v>
                </c:pt>
                <c:pt idx="19">
                  <c:v>8159</c:v>
                </c:pt>
                <c:pt idx="20">
                  <c:v>8159</c:v>
                </c:pt>
                <c:pt idx="21">
                  <c:v>8159</c:v>
                </c:pt>
                <c:pt idx="22">
                  <c:v>8159</c:v>
                </c:pt>
                <c:pt idx="23">
                  <c:v>8159</c:v>
                </c:pt>
                <c:pt idx="24">
                  <c:v>8159</c:v>
                </c:pt>
                <c:pt idx="25">
                  <c:v>8159</c:v>
                </c:pt>
                <c:pt idx="26">
                  <c:v>8159</c:v>
                </c:pt>
                <c:pt idx="27">
                  <c:v>8159</c:v>
                </c:pt>
                <c:pt idx="28">
                  <c:v>8159</c:v>
                </c:pt>
                <c:pt idx="29">
                  <c:v>8159</c:v>
                </c:pt>
                <c:pt idx="30">
                  <c:v>8159</c:v>
                </c:pt>
                <c:pt idx="31">
                  <c:v>8159</c:v>
                </c:pt>
                <c:pt idx="32">
                  <c:v>8159</c:v>
                </c:pt>
                <c:pt idx="33">
                  <c:v>8159</c:v>
                </c:pt>
                <c:pt idx="34">
                  <c:v>8159</c:v>
                </c:pt>
                <c:pt idx="35">
                  <c:v>8159</c:v>
                </c:pt>
                <c:pt idx="36">
                  <c:v>8159</c:v>
                </c:pt>
                <c:pt idx="37">
                  <c:v>8159</c:v>
                </c:pt>
                <c:pt idx="38">
                  <c:v>8159</c:v>
                </c:pt>
                <c:pt idx="39">
                  <c:v>8159</c:v>
                </c:pt>
                <c:pt idx="40">
                  <c:v>8159</c:v>
                </c:pt>
                <c:pt idx="41">
                  <c:v>8159</c:v>
                </c:pt>
                <c:pt idx="42">
                  <c:v>8159</c:v>
                </c:pt>
                <c:pt idx="43">
                  <c:v>8159</c:v>
                </c:pt>
                <c:pt idx="44">
                  <c:v>8159</c:v>
                </c:pt>
                <c:pt idx="45">
                  <c:v>8159</c:v>
                </c:pt>
                <c:pt idx="46">
                  <c:v>8159</c:v>
                </c:pt>
                <c:pt idx="47">
                  <c:v>8159</c:v>
                </c:pt>
                <c:pt idx="48">
                  <c:v>8159</c:v>
                </c:pt>
                <c:pt idx="49">
                  <c:v>8159</c:v>
                </c:pt>
                <c:pt idx="50">
                  <c:v>8159</c:v>
                </c:pt>
                <c:pt idx="51">
                  <c:v>8159</c:v>
                </c:pt>
                <c:pt idx="52">
                  <c:v>8159</c:v>
                </c:pt>
                <c:pt idx="53">
                  <c:v>8159</c:v>
                </c:pt>
                <c:pt idx="54">
                  <c:v>8159</c:v>
                </c:pt>
                <c:pt idx="55">
                  <c:v>8159</c:v>
                </c:pt>
                <c:pt idx="56">
                  <c:v>8159</c:v>
                </c:pt>
                <c:pt idx="57">
                  <c:v>8159</c:v>
                </c:pt>
                <c:pt idx="58">
                  <c:v>8159</c:v>
                </c:pt>
                <c:pt idx="59">
                  <c:v>8159</c:v>
                </c:pt>
                <c:pt idx="60">
                  <c:v>8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504-4534-8499-404B3C80ED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2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150.07898894154815</c:v>
                </c:pt>
                <c:pt idx="1">
                  <c:v>211.80738400327655</c:v>
                </c:pt>
                <c:pt idx="2">
                  <c:v>205.07869638991278</c:v>
                </c:pt>
                <c:pt idx="3">
                  <c:v>152.12685038909365</c:v>
                </c:pt>
                <c:pt idx="4">
                  <c:v>130.18547773682053</c:v>
                </c:pt>
                <c:pt idx="5">
                  <c:v>139.8396817038207</c:v>
                </c:pt>
                <c:pt idx="6">
                  <c:v>159.14808963782104</c:v>
                </c:pt>
                <c:pt idx="7">
                  <c:v>171.43525832309399</c:v>
                </c:pt>
                <c:pt idx="8">
                  <c:v>214.73290035691295</c:v>
                </c:pt>
                <c:pt idx="9">
                  <c:v>282.89743139664148</c:v>
                </c:pt>
                <c:pt idx="10">
                  <c:v>323.56210871218764</c:v>
                </c:pt>
                <c:pt idx="11">
                  <c:v>301.3281844245509</c:v>
                </c:pt>
                <c:pt idx="12">
                  <c:v>253.93481949564094</c:v>
                </c:pt>
                <c:pt idx="13">
                  <c:v>213.5626938154584</c:v>
                </c:pt>
                <c:pt idx="14">
                  <c:v>146.56836931718445</c:v>
                </c:pt>
                <c:pt idx="15">
                  <c:v>136.03651044409335</c:v>
                </c:pt>
                <c:pt idx="16">
                  <c:v>111.169621438183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–5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250.78388382016649</c:v>
                </c:pt>
                <c:pt idx="1">
                  <c:v>283.49482518801426</c:v>
                </c:pt>
                <c:pt idx="2">
                  <c:v>362.47259353561077</c:v>
                </c:pt>
                <c:pt idx="3">
                  <c:v>403.72963670226568</c:v>
                </c:pt>
                <c:pt idx="4">
                  <c:v>387.22681943560372</c:v>
                </c:pt>
                <c:pt idx="5">
                  <c:v>400.19331871655237</c:v>
                </c:pt>
                <c:pt idx="6">
                  <c:v>438.2087370629701</c:v>
                </c:pt>
                <c:pt idx="7">
                  <c:v>473.57191692010286</c:v>
                </c:pt>
                <c:pt idx="8">
                  <c:v>649.50373670933834</c:v>
                </c:pt>
                <c:pt idx="9">
                  <c:v>756.47735577716492</c:v>
                </c:pt>
                <c:pt idx="10">
                  <c:v>648.61965721291006</c:v>
                </c:pt>
                <c:pt idx="11">
                  <c:v>500.68368814390465</c:v>
                </c:pt>
                <c:pt idx="12">
                  <c:v>408.73942051535948</c:v>
                </c:pt>
                <c:pt idx="13">
                  <c:v>332.41389065704794</c:v>
                </c:pt>
                <c:pt idx="14">
                  <c:v>198.62319353089566</c:v>
                </c:pt>
                <c:pt idx="15">
                  <c:v>197.14972770351514</c:v>
                </c:pt>
                <c:pt idx="16">
                  <c:v>171.21672914161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6–10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317.71399459484905</c:v>
                </c:pt>
                <c:pt idx="1">
                  <c:v>399.54148688753668</c:v>
                </c:pt>
                <c:pt idx="2">
                  <c:v>478.92636746999483</c:v>
                </c:pt>
                <c:pt idx="3">
                  <c:v>447.17241523701159</c:v>
                </c:pt>
                <c:pt idx="4">
                  <c:v>401.28620953770059</c:v>
                </c:pt>
                <c:pt idx="5">
                  <c:v>404.7756548380284</c:v>
                </c:pt>
                <c:pt idx="6">
                  <c:v>444.0319144667165</c:v>
                </c:pt>
                <c:pt idx="7">
                  <c:v>520.97418333894518</c:v>
                </c:pt>
                <c:pt idx="8">
                  <c:v>669.27560860287804</c:v>
                </c:pt>
                <c:pt idx="9">
                  <c:v>801.17664095527005</c:v>
                </c:pt>
                <c:pt idx="10">
                  <c:v>664.21591291740265</c:v>
                </c:pt>
                <c:pt idx="11">
                  <c:v>530.22121338481395</c:v>
                </c:pt>
                <c:pt idx="12">
                  <c:v>420.47815868950369</c:v>
                </c:pt>
                <c:pt idx="13">
                  <c:v>328.70574729088173</c:v>
                </c:pt>
                <c:pt idx="14">
                  <c:v>215.47324729524357</c:v>
                </c:pt>
                <c:pt idx="15">
                  <c:v>209.19224575465347</c:v>
                </c:pt>
                <c:pt idx="16">
                  <c:v>190.87265792793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11–1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372.67843707569239</c:v>
                </c:pt>
                <c:pt idx="1">
                  <c:v>541.79855184047096</c:v>
                </c:pt>
                <c:pt idx="2">
                  <c:v>610.67496693274143</c:v>
                </c:pt>
                <c:pt idx="3">
                  <c:v>400.31674376876902</c:v>
                </c:pt>
                <c:pt idx="4">
                  <c:v>356.66576732494161</c:v>
                </c:pt>
                <c:pt idx="5">
                  <c:v>358.42058044831157</c:v>
                </c:pt>
                <c:pt idx="6">
                  <c:v>381.89120597338461</c:v>
                </c:pt>
                <c:pt idx="7">
                  <c:v>436.72911607869543</c:v>
                </c:pt>
                <c:pt idx="8">
                  <c:v>561.10149619754043</c:v>
                </c:pt>
                <c:pt idx="9">
                  <c:v>707.40904035850963</c:v>
                </c:pt>
                <c:pt idx="10">
                  <c:v>708.50579856061586</c:v>
                </c:pt>
                <c:pt idx="11">
                  <c:v>679.99008530585422</c:v>
                </c:pt>
                <c:pt idx="12">
                  <c:v>572.50778149944506</c:v>
                </c:pt>
                <c:pt idx="13">
                  <c:v>421.59385288962966</c:v>
                </c:pt>
                <c:pt idx="14">
                  <c:v>281.20880302003394</c:v>
                </c:pt>
                <c:pt idx="15">
                  <c:v>280.11204481792771</c:v>
                </c:pt>
                <c:pt idx="16">
                  <c:v>211.454981366078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15–19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82.18731041984819</c:v>
                </c:pt>
                <c:pt idx="1">
                  <c:v>626.32052381649692</c:v>
                </c:pt>
                <c:pt idx="2">
                  <c:v>743.04959939752746</c:v>
                </c:pt>
                <c:pt idx="3">
                  <c:v>452.69125368700713</c:v>
                </c:pt>
                <c:pt idx="4">
                  <c:v>373.82591050770878</c:v>
                </c:pt>
                <c:pt idx="5">
                  <c:v>383.86712131037808</c:v>
                </c:pt>
                <c:pt idx="6">
                  <c:v>400.81166453988249</c:v>
                </c:pt>
                <c:pt idx="7">
                  <c:v>457.08428341317494</c:v>
                </c:pt>
                <c:pt idx="8">
                  <c:v>578.83396439554008</c:v>
                </c:pt>
                <c:pt idx="9">
                  <c:v>713.13515888124186</c:v>
                </c:pt>
                <c:pt idx="10">
                  <c:v>752.25404263330768</c:v>
                </c:pt>
                <c:pt idx="11">
                  <c:v>738.44737777963735</c:v>
                </c:pt>
                <c:pt idx="12">
                  <c:v>620.25395895655095</c:v>
                </c:pt>
                <c:pt idx="13">
                  <c:v>472.14609961717889</c:v>
                </c:pt>
                <c:pt idx="14">
                  <c:v>295.58814300357722</c:v>
                </c:pt>
                <c:pt idx="15">
                  <c:v>305.62935380624651</c:v>
                </c:pt>
                <c:pt idx="16">
                  <c:v>226.764010626948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466.07709282800602</c:v>
                </c:pt>
                <c:pt idx="1">
                  <c:v>696.55344022441591</c:v>
                </c:pt>
                <c:pt idx="2">
                  <c:v>797.39560885844378</c:v>
                </c:pt>
                <c:pt idx="3">
                  <c:v>511.0932463706813</c:v>
                </c:pt>
                <c:pt idx="4">
                  <c:v>443.47550514361757</c:v>
                </c:pt>
                <c:pt idx="5">
                  <c:v>445.08389284809203</c:v>
                </c:pt>
                <c:pt idx="6">
                  <c:v>473.03430475898864</c:v>
                </c:pt>
                <c:pt idx="7">
                  <c:v>510.49477652715592</c:v>
                </c:pt>
                <c:pt idx="8">
                  <c:v>643.18676214630057</c:v>
                </c:pt>
                <c:pt idx="9">
                  <c:v>782.88271515295321</c:v>
                </c:pt>
                <c:pt idx="10">
                  <c:v>781.65772219198709</c:v>
                </c:pt>
                <c:pt idx="11">
                  <c:v>720.0153283088722</c:v>
                </c:pt>
                <c:pt idx="12">
                  <c:v>584.48996202428702</c:v>
                </c:pt>
                <c:pt idx="13">
                  <c:v>449.66592758758327</c:v>
                </c:pt>
                <c:pt idx="14">
                  <c:v>294.27884337099937</c:v>
                </c:pt>
                <c:pt idx="15">
                  <c:v>278.5222545219325</c:v>
                </c:pt>
                <c:pt idx="16">
                  <c:v>195.82120301976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85</c:v>
                </c:pt>
                <c:pt idx="1">
                  <c:v>1596</c:v>
                </c:pt>
                <c:pt idx="2">
                  <c:v>1623</c:v>
                </c:pt>
                <c:pt idx="3">
                  <c:v>1649</c:v>
                </c:pt>
                <c:pt idx="4">
                  <c:v>1669</c:v>
                </c:pt>
                <c:pt idx="5">
                  <c:v>1673</c:v>
                </c:pt>
                <c:pt idx="6">
                  <c:v>1676</c:v>
                </c:pt>
                <c:pt idx="7">
                  <c:v>1771</c:v>
                </c:pt>
                <c:pt idx="8">
                  <c:v>1801</c:v>
                </c:pt>
                <c:pt idx="9">
                  <c:v>1832</c:v>
                </c:pt>
                <c:pt idx="10">
                  <c:v>1821</c:v>
                </c:pt>
                <c:pt idx="11">
                  <c:v>1832</c:v>
                </c:pt>
                <c:pt idx="12">
                  <c:v>1780</c:v>
                </c:pt>
                <c:pt idx="13">
                  <c:v>1827</c:v>
                </c:pt>
                <c:pt idx="14">
                  <c:v>1885</c:v>
                </c:pt>
                <c:pt idx="15">
                  <c:v>1892</c:v>
                </c:pt>
                <c:pt idx="16">
                  <c:v>1861</c:v>
                </c:pt>
                <c:pt idx="17">
                  <c:v>1861</c:v>
                </c:pt>
                <c:pt idx="18">
                  <c:v>1821</c:v>
                </c:pt>
                <c:pt idx="19">
                  <c:v>1782</c:v>
                </c:pt>
                <c:pt idx="20">
                  <c:v>1806</c:v>
                </c:pt>
                <c:pt idx="21">
                  <c:v>1826</c:v>
                </c:pt>
                <c:pt idx="22">
                  <c:v>1779</c:v>
                </c:pt>
                <c:pt idx="23">
                  <c:v>1748</c:v>
                </c:pt>
                <c:pt idx="24">
                  <c:v>1747</c:v>
                </c:pt>
                <c:pt idx="25">
                  <c:v>1685</c:v>
                </c:pt>
                <c:pt idx="26">
                  <c:v>1649</c:v>
                </c:pt>
                <c:pt idx="27">
                  <c:v>1658</c:v>
                </c:pt>
                <c:pt idx="28">
                  <c:v>1668</c:v>
                </c:pt>
                <c:pt idx="29">
                  <c:v>1619</c:v>
                </c:pt>
                <c:pt idx="30">
                  <c:v>1559</c:v>
                </c:pt>
                <c:pt idx="31">
                  <c:v>1513</c:v>
                </c:pt>
                <c:pt idx="32">
                  <c:v>1429</c:v>
                </c:pt>
                <c:pt idx="33">
                  <c:v>1404</c:v>
                </c:pt>
                <c:pt idx="34">
                  <c:v>1384</c:v>
                </c:pt>
                <c:pt idx="35">
                  <c:v>1354</c:v>
                </c:pt>
                <c:pt idx="36">
                  <c:v>1406</c:v>
                </c:pt>
                <c:pt idx="37">
                  <c:v>1376</c:v>
                </c:pt>
                <c:pt idx="38">
                  <c:v>1330</c:v>
                </c:pt>
                <c:pt idx="39">
                  <c:v>1251</c:v>
                </c:pt>
                <c:pt idx="40">
                  <c:v>1235</c:v>
                </c:pt>
                <c:pt idx="41">
                  <c:v>1219</c:v>
                </c:pt>
                <c:pt idx="42">
                  <c:v>1204</c:v>
                </c:pt>
                <c:pt idx="43">
                  <c:v>1180</c:v>
                </c:pt>
                <c:pt idx="44">
                  <c:v>1138</c:v>
                </c:pt>
                <c:pt idx="45">
                  <c:v>1061</c:v>
                </c:pt>
                <c:pt idx="46">
                  <c:v>1034</c:v>
                </c:pt>
                <c:pt idx="47">
                  <c:v>992</c:v>
                </c:pt>
                <c:pt idx="48">
                  <c:v>997</c:v>
                </c:pt>
                <c:pt idx="49">
                  <c:v>1017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3F-49DB-BD14-5538EE2F0D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30.2191397925492</c:v>
                </c:pt>
                <c:pt idx="32">
                  <c:v>1496.375196120415</c:v>
                </c:pt>
                <c:pt idx="33">
                  <c:v>1462.9106233174198</c:v>
                </c:pt>
                <c:pt idx="34">
                  <c:v>1430.8212562313993</c:v>
                </c:pt>
                <c:pt idx="35">
                  <c:v>1399.7801552886681</c:v>
                </c:pt>
                <c:pt idx="36">
                  <c:v>1369.2191766887213</c:v>
                </c:pt>
                <c:pt idx="37">
                  <c:v>1338.8762059004825</c:v>
                </c:pt>
                <c:pt idx="38">
                  <c:v>1309.0435564479278</c:v>
                </c:pt>
                <c:pt idx="39">
                  <c:v>1278.9122585332334</c:v>
                </c:pt>
                <c:pt idx="40">
                  <c:v>1248.1905271099413</c:v>
                </c:pt>
                <c:pt idx="41">
                  <c:v>1217.2879555428667</c:v>
                </c:pt>
                <c:pt idx="42">
                  <c:v>1185.7562747416152</c:v>
                </c:pt>
                <c:pt idx="43">
                  <c:v>1153.4204530842198</c:v>
                </c:pt>
                <c:pt idx="44">
                  <c:v>1120.3644613469446</c:v>
                </c:pt>
                <c:pt idx="45">
                  <c:v>1086.8226049174418</c:v>
                </c:pt>
                <c:pt idx="46">
                  <c:v>1053.0999138732045</c:v>
                </c:pt>
                <c:pt idx="47">
                  <c:v>1019.3109100344344</c:v>
                </c:pt>
                <c:pt idx="48">
                  <c:v>985.4354782666253</c:v>
                </c:pt>
                <c:pt idx="49">
                  <c:v>951.48201680966565</c:v>
                </c:pt>
                <c:pt idx="50">
                  <c:v>917.70108637994485</c:v>
                </c:pt>
                <c:pt idx="51">
                  <c:v>884.25294492896614</c:v>
                </c:pt>
                <c:pt idx="52">
                  <c:v>851.42170025383575</c:v>
                </c:pt>
                <c:pt idx="53">
                  <c:v>818.99779153161614</c:v>
                </c:pt>
                <c:pt idx="54">
                  <c:v>787.09799345402007</c:v>
                </c:pt>
                <c:pt idx="55">
                  <c:v>755.85630385895911</c:v>
                </c:pt>
                <c:pt idx="56">
                  <c:v>725.39827197834825</c:v>
                </c:pt>
                <c:pt idx="57">
                  <c:v>695.83094032708323</c:v>
                </c:pt>
                <c:pt idx="58">
                  <c:v>667.14453217629364</c:v>
                </c:pt>
                <c:pt idx="59">
                  <c:v>639.40531133780212</c:v>
                </c:pt>
                <c:pt idx="60">
                  <c:v>612.57485778980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93F-49DB-BD14-5538EE2F0DD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31.5386658376153</c:v>
                </c:pt>
                <c:pt idx="32">
                  <c:v>1500.1887729458856</c:v>
                </c:pt>
                <c:pt idx="33">
                  <c:v>1470.1483655988056</c:v>
                </c:pt>
                <c:pt idx="34">
                  <c:v>1442.2467855418952</c:v>
                </c:pt>
                <c:pt idx="35">
                  <c:v>1416.2613467966798</c:v>
                </c:pt>
                <c:pt idx="36">
                  <c:v>1391.7296455071655</c:v>
                </c:pt>
                <c:pt idx="37">
                  <c:v>1368.4703481516135</c:v>
                </c:pt>
                <c:pt idx="38">
                  <c:v>1346.7968084630513</c:v>
                </c:pt>
                <c:pt idx="39">
                  <c:v>1325.6980801508812</c:v>
                </c:pt>
                <c:pt idx="40">
                  <c:v>1304.7063045381192</c:v>
                </c:pt>
                <c:pt idx="41">
                  <c:v>1284.1491915546394</c:v>
                </c:pt>
                <c:pt idx="42">
                  <c:v>1263.4973490472935</c:v>
                </c:pt>
                <c:pt idx="43">
                  <c:v>1242.4606938509155</c:v>
                </c:pt>
                <c:pt idx="44">
                  <c:v>1220.9944300601505</c:v>
                </c:pt>
                <c:pt idx="45">
                  <c:v>1199.195466714363</c:v>
                </c:pt>
                <c:pt idx="46">
                  <c:v>1177.2076642874563</c:v>
                </c:pt>
                <c:pt idx="47">
                  <c:v>1155.0388319036074</c:v>
                </c:pt>
                <c:pt idx="48">
                  <c:v>1132.5854717838488</c:v>
                </c:pt>
                <c:pt idx="49">
                  <c:v>1109.7891291041774</c:v>
                </c:pt>
                <c:pt idx="50">
                  <c:v>1086.8311280656749</c:v>
                </c:pt>
                <c:pt idx="51">
                  <c:v>1063.7889384182624</c:v>
                </c:pt>
                <c:pt idx="52">
                  <c:v>1040.8789051430983</c:v>
                </c:pt>
                <c:pt idx="53">
                  <c:v>1017.8437217519023</c:v>
                </c:pt>
                <c:pt idx="54">
                  <c:v>994.77991630954443</c:v>
                </c:pt>
                <c:pt idx="55">
                  <c:v>971.80888023787998</c:v>
                </c:pt>
                <c:pt idx="56">
                  <c:v>949.03548955262227</c:v>
                </c:pt>
                <c:pt idx="57">
                  <c:v>926.55647205745674</c:v>
                </c:pt>
                <c:pt idx="58">
                  <c:v>904.36125783888269</c:v>
                </c:pt>
                <c:pt idx="59">
                  <c:v>882.51795593194993</c:v>
                </c:pt>
                <c:pt idx="60">
                  <c:v>860.99986268477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93F-49DB-BD14-5538EE2F0DD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32.8581918826821</c:v>
                </c:pt>
                <c:pt idx="32">
                  <c:v>1504.0064992243281</c:v>
                </c:pt>
                <c:pt idx="33">
                  <c:v>1477.3998226745871</c:v>
                </c:pt>
                <c:pt idx="34">
                  <c:v>1453.6935129633644</c:v>
                </c:pt>
                <c:pt idx="35">
                  <c:v>1432.8378993938995</c:v>
                </c:pt>
                <c:pt idx="36">
                  <c:v>1414.5300961180217</c:v>
                </c:pt>
                <c:pt idx="37">
                  <c:v>1398.7214281344327</c:v>
                </c:pt>
                <c:pt idx="38">
                  <c:v>1385.7819034477932</c:v>
                </c:pt>
                <c:pt idx="39">
                  <c:v>1374.502306905232</c:v>
                </c:pt>
                <c:pt idx="40">
                  <c:v>1364.2453775160536</c:v>
                </c:pt>
                <c:pt idx="41">
                  <c:v>1355.3028614970808</c:v>
                </c:pt>
                <c:pt idx="42">
                  <c:v>1347.1253372823521</c:v>
                </c:pt>
                <c:pt idx="43">
                  <c:v>1339.3578031170907</c:v>
                </c:pt>
                <c:pt idx="44">
                  <c:v>1331.8237083445381</c:v>
                </c:pt>
                <c:pt idx="45">
                  <c:v>1324.4852904659108</c:v>
                </c:pt>
                <c:pt idx="46">
                  <c:v>1317.3350333755479</c:v>
                </c:pt>
                <c:pt idx="47">
                  <c:v>1310.2820339410723</c:v>
                </c:pt>
                <c:pt idx="48">
                  <c:v>1303.1574285782322</c:v>
                </c:pt>
                <c:pt idx="49">
                  <c:v>1295.8427422789994</c:v>
                </c:pt>
                <c:pt idx="50">
                  <c:v>1288.4229319450781</c:v>
                </c:pt>
                <c:pt idx="51">
                  <c:v>1280.8802704087643</c:v>
                </c:pt>
                <c:pt idx="52">
                  <c:v>1273.3506552378381</c:v>
                </c:pt>
                <c:pt idx="53">
                  <c:v>1265.5195836787725</c:v>
                </c:pt>
                <c:pt idx="54">
                  <c:v>1257.4464272439079</c:v>
                </c:pt>
                <c:pt idx="55">
                  <c:v>1249.2173097339878</c:v>
                </c:pt>
                <c:pt idx="56">
                  <c:v>1240.8989954278663</c:v>
                </c:pt>
                <c:pt idx="57">
                  <c:v>1232.5484583457223</c:v>
                </c:pt>
                <c:pt idx="58">
                  <c:v>1224.1298886776738</c:v>
                </c:pt>
                <c:pt idx="59">
                  <c:v>1215.6914310179739</c:v>
                </c:pt>
                <c:pt idx="60">
                  <c:v>1207.1927765912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93F-49DB-BD14-5538EE2F0DDE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10</c:v>
                </c:pt>
                <c:pt idx="1">
                  <c:v>1210</c:v>
                </c:pt>
                <c:pt idx="2">
                  <c:v>1210</c:v>
                </c:pt>
                <c:pt idx="3">
                  <c:v>1210</c:v>
                </c:pt>
                <c:pt idx="4">
                  <c:v>1210</c:v>
                </c:pt>
                <c:pt idx="5">
                  <c:v>1210</c:v>
                </c:pt>
                <c:pt idx="6">
                  <c:v>1210</c:v>
                </c:pt>
                <c:pt idx="7">
                  <c:v>1210</c:v>
                </c:pt>
                <c:pt idx="8">
                  <c:v>1210</c:v>
                </c:pt>
                <c:pt idx="9">
                  <c:v>1210</c:v>
                </c:pt>
                <c:pt idx="10">
                  <c:v>1210</c:v>
                </c:pt>
                <c:pt idx="11">
                  <c:v>1210</c:v>
                </c:pt>
                <c:pt idx="12">
                  <c:v>1210</c:v>
                </c:pt>
                <c:pt idx="13">
                  <c:v>1210</c:v>
                </c:pt>
                <c:pt idx="14">
                  <c:v>1210</c:v>
                </c:pt>
                <c:pt idx="15">
                  <c:v>1210</c:v>
                </c:pt>
                <c:pt idx="16">
                  <c:v>1210</c:v>
                </c:pt>
                <c:pt idx="17">
                  <c:v>1210</c:v>
                </c:pt>
                <c:pt idx="18">
                  <c:v>1210</c:v>
                </c:pt>
                <c:pt idx="19">
                  <c:v>1210</c:v>
                </c:pt>
                <c:pt idx="20">
                  <c:v>1210</c:v>
                </c:pt>
                <c:pt idx="21">
                  <c:v>1210</c:v>
                </c:pt>
                <c:pt idx="22">
                  <c:v>1210</c:v>
                </c:pt>
                <c:pt idx="23">
                  <c:v>1210</c:v>
                </c:pt>
                <c:pt idx="24">
                  <c:v>1210</c:v>
                </c:pt>
                <c:pt idx="25">
                  <c:v>1210</c:v>
                </c:pt>
                <c:pt idx="26">
                  <c:v>1210</c:v>
                </c:pt>
                <c:pt idx="27">
                  <c:v>1210</c:v>
                </c:pt>
                <c:pt idx="28">
                  <c:v>1210</c:v>
                </c:pt>
                <c:pt idx="29">
                  <c:v>1210</c:v>
                </c:pt>
                <c:pt idx="30">
                  <c:v>1210</c:v>
                </c:pt>
                <c:pt idx="31">
                  <c:v>1210</c:v>
                </c:pt>
                <c:pt idx="32">
                  <c:v>1210</c:v>
                </c:pt>
                <c:pt idx="33">
                  <c:v>1210</c:v>
                </c:pt>
                <c:pt idx="34">
                  <c:v>1210</c:v>
                </c:pt>
                <c:pt idx="35">
                  <c:v>1210</c:v>
                </c:pt>
                <c:pt idx="36">
                  <c:v>1210</c:v>
                </c:pt>
                <c:pt idx="37">
                  <c:v>1210</c:v>
                </c:pt>
                <c:pt idx="38">
                  <c:v>1210</c:v>
                </c:pt>
                <c:pt idx="39">
                  <c:v>1210</c:v>
                </c:pt>
                <c:pt idx="40">
                  <c:v>1210</c:v>
                </c:pt>
                <c:pt idx="41">
                  <c:v>1210</c:v>
                </c:pt>
                <c:pt idx="42">
                  <c:v>1210</c:v>
                </c:pt>
                <c:pt idx="43">
                  <c:v>1210</c:v>
                </c:pt>
                <c:pt idx="44">
                  <c:v>1210</c:v>
                </c:pt>
                <c:pt idx="45">
                  <c:v>1210</c:v>
                </c:pt>
                <c:pt idx="46">
                  <c:v>1210</c:v>
                </c:pt>
                <c:pt idx="47">
                  <c:v>1210</c:v>
                </c:pt>
                <c:pt idx="48">
                  <c:v>1210</c:v>
                </c:pt>
                <c:pt idx="49">
                  <c:v>1210</c:v>
                </c:pt>
                <c:pt idx="50">
                  <c:v>1210</c:v>
                </c:pt>
                <c:pt idx="51">
                  <c:v>1210</c:v>
                </c:pt>
                <c:pt idx="52">
                  <c:v>1210</c:v>
                </c:pt>
                <c:pt idx="53">
                  <c:v>1210</c:v>
                </c:pt>
                <c:pt idx="54">
                  <c:v>1210</c:v>
                </c:pt>
                <c:pt idx="55">
                  <c:v>1210</c:v>
                </c:pt>
                <c:pt idx="56">
                  <c:v>1210</c:v>
                </c:pt>
                <c:pt idx="57">
                  <c:v>1210</c:v>
                </c:pt>
                <c:pt idx="58">
                  <c:v>1210</c:v>
                </c:pt>
                <c:pt idx="59">
                  <c:v>1210</c:v>
                </c:pt>
                <c:pt idx="60">
                  <c:v>12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93F-49DB-BD14-5538EE2F0D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3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2</c:v>
                </c:pt>
                <c:pt idx="27">
                  <c:v>10936</c:v>
                </c:pt>
                <c:pt idx="28">
                  <c:v>16475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5</c:v>
                </c:pt>
                <c:pt idx="33">
                  <c:v>6267</c:v>
                </c:pt>
                <c:pt idx="34">
                  <c:v>12956</c:v>
                </c:pt>
                <c:pt idx="35">
                  <c:v>17398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7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18</c:v>
                </c:pt>
                <c:pt idx="44">
                  <c:v>8087</c:v>
                </c:pt>
                <c:pt idx="45">
                  <c:v>9300</c:v>
                </c:pt>
                <c:pt idx="46">
                  <c:v>5241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5</c:v>
                </c:pt>
                <c:pt idx="51">
                  <c:v>7532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4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1</c:v>
                </c:pt>
                <c:pt idx="76">
                  <c:v>8905</c:v>
                </c:pt>
                <c:pt idx="77">
                  <c:v>12608</c:v>
                </c:pt>
                <c:pt idx="78">
                  <c:v>10938</c:v>
                </c:pt>
                <c:pt idx="79">
                  <c:v>11703</c:v>
                </c:pt>
                <c:pt idx="80">
                  <c:v>11287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1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3</c:v>
                </c:pt>
                <c:pt idx="89">
                  <c:v>4587</c:v>
                </c:pt>
                <c:pt idx="90">
                  <c:v>12324</c:v>
                </c:pt>
                <c:pt idx="91">
                  <c:v>16777</c:v>
                </c:pt>
                <c:pt idx="92">
                  <c:v>15239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4</c:v>
                </c:pt>
                <c:pt idx="98">
                  <c:v>15358</c:v>
                </c:pt>
                <c:pt idx="99">
                  <c:v>14535</c:v>
                </c:pt>
                <c:pt idx="100">
                  <c:v>11244</c:v>
                </c:pt>
                <c:pt idx="101">
                  <c:v>14958</c:v>
                </c:pt>
                <c:pt idx="102">
                  <c:v>6956</c:v>
                </c:pt>
                <c:pt idx="103">
                  <c:v>3331</c:v>
                </c:pt>
                <c:pt idx="104">
                  <c:v>10628</c:v>
                </c:pt>
                <c:pt idx="105">
                  <c:v>14028</c:v>
                </c:pt>
                <c:pt idx="106">
                  <c:v>12027</c:v>
                </c:pt>
                <c:pt idx="107">
                  <c:v>10659</c:v>
                </c:pt>
                <c:pt idx="108">
                  <c:v>9710</c:v>
                </c:pt>
                <c:pt idx="109">
                  <c:v>5466</c:v>
                </c:pt>
                <c:pt idx="110">
                  <c:v>2389</c:v>
                </c:pt>
                <c:pt idx="111">
                  <c:v>8240</c:v>
                </c:pt>
                <c:pt idx="112">
                  <c:v>10969</c:v>
                </c:pt>
                <c:pt idx="113">
                  <c:v>8847</c:v>
                </c:pt>
                <c:pt idx="114">
                  <c:v>7924</c:v>
                </c:pt>
                <c:pt idx="115">
                  <c:v>7710</c:v>
                </c:pt>
                <c:pt idx="116">
                  <c:v>3969</c:v>
                </c:pt>
                <c:pt idx="117">
                  <c:v>1743</c:v>
                </c:pt>
                <c:pt idx="118">
                  <c:v>6934</c:v>
                </c:pt>
                <c:pt idx="119">
                  <c:v>8629</c:v>
                </c:pt>
                <c:pt idx="120">
                  <c:v>7262</c:v>
                </c:pt>
                <c:pt idx="121">
                  <c:v>6244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0</c:v>
                </c:pt>
                <c:pt idx="127">
                  <c:v>7051</c:v>
                </c:pt>
                <c:pt idx="128">
                  <c:v>5282</c:v>
                </c:pt>
                <c:pt idx="129">
                  <c:v>4820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7</c:v>
                </c:pt>
                <c:pt idx="134">
                  <c:v>3713</c:v>
                </c:pt>
                <c:pt idx="135">
                  <c:v>3255</c:v>
                </c:pt>
                <c:pt idx="136">
                  <c:v>3213</c:v>
                </c:pt>
                <c:pt idx="137">
                  <c:v>1541</c:v>
                </c:pt>
                <c:pt idx="138">
                  <c:v>829</c:v>
                </c:pt>
                <c:pt idx="139">
                  <c:v>3301</c:v>
                </c:pt>
                <c:pt idx="140" formatCode="General">
                  <c:v>3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  <c:pt idx="151" formatCode="#,##0">
                  <c:v>12334.650077394488</c:v>
                </c:pt>
                <c:pt idx="152" formatCode="#,##0">
                  <c:v>12173.519071545517</c:v>
                </c:pt>
                <c:pt idx="153" formatCode="#,##0">
                  <c:v>12011.136454096581</c:v>
                </c:pt>
                <c:pt idx="154" formatCode="#,##0">
                  <c:v>11847.653911480365</c:v>
                </c:pt>
                <c:pt idx="155" formatCode="#,##0">
                  <c:v>11683.220394169555</c:v>
                </c:pt>
                <c:pt idx="156" formatCode="#,##0">
                  <c:v>11517.981919224159</c:v>
                </c:pt>
                <c:pt idx="157" formatCode="#,##0">
                  <c:v>11352.08138795762</c:v>
                </c:pt>
                <c:pt idx="158" formatCode="#,##0">
                  <c:v>11185.658418757575</c:v>
                </c:pt>
                <c:pt idx="159" formatCode="#,##0">
                  <c:v>11018.849195020563</c:v>
                </c:pt>
                <c:pt idx="160" formatCode="#,##0">
                  <c:v>10851.78632808833</c:v>
                </c:pt>
                <c:pt idx="161" formatCode="#,##0">
                  <c:v>10684.598735007381</c:v>
                </c:pt>
                <c:pt idx="162" formatCode="#,##0">
                  <c:v>10517.41153087225</c:v>
                </c:pt>
                <c:pt idx="163" formatCode="#,##0">
                  <c:v>10350.34593545749</c:v>
                </c:pt>
                <c:pt idx="164" formatCode="#,##0">
                  <c:v>10183.519193792981</c:v>
                </c:pt>
                <c:pt idx="165" formatCode="#,##0">
                  <c:v>10017.044510292133</c:v>
                </c:pt>
                <c:pt idx="166" formatCode="#,##0">
                  <c:v>9851.0309960025079</c:v>
                </c:pt>
                <c:pt idx="167" formatCode="#,##0">
                  <c:v>9685.5836285136211</c:v>
                </c:pt>
                <c:pt idx="168" formatCode="#,##0">
                  <c:v>9520.8032240265748</c:v>
                </c:pt>
                <c:pt idx="169" formatCode="#,##0">
                  <c:v>9356.7864210649568</c:v>
                </c:pt>
                <c:pt idx="170" formatCode="#,##0">
                  <c:v>9193.6256752857098</c:v>
                </c:pt>
                <c:pt idx="171" formatCode="#,##0">
                  <c:v>9031.4092648322239</c:v>
                </c:pt>
                <c:pt idx="172" formatCode="#,##0">
                  <c:v>8870.2213056597575</c:v>
                </c:pt>
                <c:pt idx="173" formatCode="#,##0">
                  <c:v>8710.1417762547771</c:v>
                </c:pt>
                <c:pt idx="174" formatCode="#,##0">
                  <c:v>8551.2465511651244</c:v>
                </c:pt>
                <c:pt idx="175" formatCode="#,##0">
                  <c:v>8393.6074427566346</c:v>
                </c:pt>
                <c:pt idx="176" formatCode="#,##0">
                  <c:v>8237.2922506135019</c:v>
                </c:pt>
                <c:pt idx="177" formatCode="#,##0">
                  <c:v>8082.3648180044675</c:v>
                </c:pt>
                <c:pt idx="178" formatCode="#,##0">
                  <c:v>7928.885094844276</c:v>
                </c:pt>
                <c:pt idx="179" formatCode="#,##0">
                  <c:v>7776.9092065893965</c:v>
                </c:pt>
                <c:pt idx="180" formatCode="#,##0">
                  <c:v>7626.4895285190469</c:v>
                </c:pt>
                <c:pt idx="181" formatCode="#,##0">
                  <c:v>7477.674764866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D6-49D4-BBCA-40283A14DED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3.5150502573499692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–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499.9862685515908</c:v>
                </c:pt>
                <c:pt idx="1">
                  <c:v>785.4388490138399</c:v>
                </c:pt>
                <c:pt idx="2">
                  <c:v>904.98322340097309</c:v>
                </c:pt>
                <c:pt idx="3">
                  <c:v>500.3093614553398</c:v>
                </c:pt>
                <c:pt idx="4">
                  <c:v>437.36009404157465</c:v>
                </c:pt>
                <c:pt idx="5">
                  <c:v>455.77638955526811</c:v>
                </c:pt>
                <c:pt idx="6">
                  <c:v>488.51647046850098</c:v>
                </c:pt>
                <c:pt idx="7">
                  <c:v>524.7028756883899</c:v>
                </c:pt>
                <c:pt idx="8">
                  <c:v>683.5568866983192</c:v>
                </c:pt>
                <c:pt idx="9">
                  <c:v>845.69567556303002</c:v>
                </c:pt>
                <c:pt idx="10">
                  <c:v>861.25798376027387</c:v>
                </c:pt>
                <c:pt idx="11">
                  <c:v>796.63940301047217</c:v>
                </c:pt>
                <c:pt idx="12">
                  <c:v>643.0625760951101</c:v>
                </c:pt>
                <c:pt idx="13">
                  <c:v>501.06324489742082</c:v>
                </c:pt>
                <c:pt idx="14">
                  <c:v>336.01661989896894</c:v>
                </c:pt>
                <c:pt idx="15">
                  <c:v>310.92307104112928</c:v>
                </c:pt>
                <c:pt idx="16">
                  <c:v>211.30275905185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–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584.62491121350683</c:v>
                </c:pt>
                <c:pt idx="1">
                  <c:v>842.29380747366542</c:v>
                </c:pt>
                <c:pt idx="2">
                  <c:v>912.4915568696797</c:v>
                </c:pt>
                <c:pt idx="3">
                  <c:v>576.98353183762936</c:v>
                </c:pt>
                <c:pt idx="4">
                  <c:v>515.21901460255754</c:v>
                </c:pt>
                <c:pt idx="5">
                  <c:v>522.89998661768823</c:v>
                </c:pt>
                <c:pt idx="6">
                  <c:v>569.54011565801807</c:v>
                </c:pt>
                <c:pt idx="7">
                  <c:v>619.98113806666015</c:v>
                </c:pt>
                <c:pt idx="8">
                  <c:v>776.76798950953469</c:v>
                </c:pt>
                <c:pt idx="9">
                  <c:v>946.62041190598222</c:v>
                </c:pt>
                <c:pt idx="10">
                  <c:v>942.62155534140391</c:v>
                </c:pt>
                <c:pt idx="11">
                  <c:v>852.19196728697818</c:v>
                </c:pt>
                <c:pt idx="12">
                  <c:v>673.19364522302965</c:v>
                </c:pt>
                <c:pt idx="13">
                  <c:v>502.23262892749113</c:v>
                </c:pt>
                <c:pt idx="14">
                  <c:v>324.89719771217909</c:v>
                </c:pt>
                <c:pt idx="15">
                  <c:v>311.55447828383348</c:v>
                </c:pt>
                <c:pt idx="16">
                  <c:v>218.0366643676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–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528.84943735361298</c:v>
                </c:pt>
                <c:pt idx="1">
                  <c:v>809.7708838027736</c:v>
                </c:pt>
                <c:pt idx="2">
                  <c:v>912.11587984556752</c:v>
                </c:pt>
                <c:pt idx="3">
                  <c:v>616.63111207530278</c:v>
                </c:pt>
                <c:pt idx="4">
                  <c:v>530.35598783510648</c:v>
                </c:pt>
                <c:pt idx="5">
                  <c:v>525.78611804124273</c:v>
                </c:pt>
                <c:pt idx="6">
                  <c:v>549.63983399822371</c:v>
                </c:pt>
                <c:pt idx="7">
                  <c:v>591.72281078127639</c:v>
                </c:pt>
                <c:pt idx="8">
                  <c:v>736.90405884786981</c:v>
                </c:pt>
                <c:pt idx="9">
                  <c:v>886.50452166017749</c:v>
                </c:pt>
                <c:pt idx="10">
                  <c:v>896.39753648865167</c:v>
                </c:pt>
                <c:pt idx="11">
                  <c:v>866.66827365384597</c:v>
                </c:pt>
                <c:pt idx="12">
                  <c:v>701.600559231538</c:v>
                </c:pt>
                <c:pt idx="13">
                  <c:v>536.68349985737927</c:v>
                </c:pt>
                <c:pt idx="14">
                  <c:v>346.30573734597994</c:v>
                </c:pt>
                <c:pt idx="15">
                  <c:v>332.99787475945374</c:v>
                </c:pt>
                <c:pt idx="16">
                  <c:v>215.93890234740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–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353.53744165891055</c:v>
                </c:pt>
                <c:pt idx="1">
                  <c:v>593.18153273926646</c:v>
                </c:pt>
                <c:pt idx="2">
                  <c:v>705.51470043318341</c:v>
                </c:pt>
                <c:pt idx="3">
                  <c:v>420.07924168870989</c:v>
                </c:pt>
                <c:pt idx="4">
                  <c:v>342.14810660105508</c:v>
                </c:pt>
                <c:pt idx="5">
                  <c:v>333.72311902401134</c:v>
                </c:pt>
                <c:pt idx="6">
                  <c:v>348.85689300499735</c:v>
                </c:pt>
                <c:pt idx="7">
                  <c:v>361.65039265902675</c:v>
                </c:pt>
                <c:pt idx="8">
                  <c:v>439.11347288129025</c:v>
                </c:pt>
                <c:pt idx="9">
                  <c:v>546.76609192129388</c:v>
                </c:pt>
                <c:pt idx="10">
                  <c:v>573.75725582552673</c:v>
                </c:pt>
                <c:pt idx="11">
                  <c:v>529.29204361335132</c:v>
                </c:pt>
                <c:pt idx="12">
                  <c:v>450.50280793914573</c:v>
                </c:pt>
                <c:pt idx="13">
                  <c:v>361.80641094749052</c:v>
                </c:pt>
                <c:pt idx="14">
                  <c:v>243.23251171502275</c:v>
                </c:pt>
                <c:pt idx="15">
                  <c:v>222.09203362818144</c:v>
                </c:pt>
                <c:pt idx="16">
                  <c:v>149.38751120406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 a více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16.4857266257838</c:v>
                </c:pt>
                <c:pt idx="1">
                  <c:v>642.55780372330582</c:v>
                </c:pt>
                <c:pt idx="2">
                  <c:v>847.4466565222574</c:v>
                </c:pt>
                <c:pt idx="3">
                  <c:v>551.46993923945263</c:v>
                </c:pt>
                <c:pt idx="4">
                  <c:v>455.55700699870278</c:v>
                </c:pt>
                <c:pt idx="5">
                  <c:v>418.13331073789482</c:v>
                </c:pt>
                <c:pt idx="6">
                  <c:v>409.42465185959361</c:v>
                </c:pt>
                <c:pt idx="7">
                  <c:v>401.89283877565742</c:v>
                </c:pt>
                <c:pt idx="8">
                  <c:v>478.62318456825733</c:v>
                </c:pt>
                <c:pt idx="9">
                  <c:v>551.35225466001611</c:v>
                </c:pt>
                <c:pt idx="10">
                  <c:v>546.409502323683</c:v>
                </c:pt>
                <c:pt idx="11">
                  <c:v>498.86493223133584</c:v>
                </c:pt>
                <c:pt idx="12">
                  <c:v>420.60468690606137</c:v>
                </c:pt>
                <c:pt idx="13">
                  <c:v>335.5187359734698</c:v>
                </c:pt>
                <c:pt idx="14">
                  <c:v>224.18912382653804</c:v>
                </c:pt>
                <c:pt idx="15">
                  <c:v>187.47153504234913</c:v>
                </c:pt>
                <c:pt idx="16">
                  <c:v>140.280018688311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12 - 28.12</c:v>
                </c:pt>
                <c:pt idx="1">
                  <c:v>29.12 - 4.1</c:v>
                </c:pt>
                <c:pt idx="2">
                  <c:v>5.1 - 11.1</c:v>
                </c:pt>
                <c:pt idx="3">
                  <c:v>12.1 - 18.1</c:v>
                </c:pt>
                <c:pt idx="4">
                  <c:v>19.1 - 25.1</c:v>
                </c:pt>
                <c:pt idx="5">
                  <c:v>26.1 - 1.2</c:v>
                </c:pt>
                <c:pt idx="6">
                  <c:v>2.2 - 8.2</c:v>
                </c:pt>
                <c:pt idx="7">
                  <c:v>9.2 - 15.2</c:v>
                </c:pt>
                <c:pt idx="8">
                  <c:v>16.2 - 22.2</c:v>
                </c:pt>
                <c:pt idx="9">
                  <c:v>23.2 - 1.3</c:v>
                </c:pt>
                <c:pt idx="10">
                  <c:v>2.3 - 8.3</c:v>
                </c:pt>
                <c:pt idx="11">
                  <c:v>9.3 - 15.3</c:v>
                </c:pt>
                <c:pt idx="12">
                  <c:v>16.3 - 22.3</c:v>
                </c:pt>
                <c:pt idx="13">
                  <c:v>23.3 - 29.3</c:v>
                </c:pt>
                <c:pt idx="14">
                  <c:v>30.3 - 5.4</c:v>
                </c:pt>
                <c:pt idx="15">
                  <c:v>6.4 - 12.4</c:v>
                </c:pt>
                <c:pt idx="16">
                  <c:v>13.4 - 19.4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466.07709282800602</c:v>
                </c:pt>
                <c:pt idx="1">
                  <c:v>696.55344022441591</c:v>
                </c:pt>
                <c:pt idx="2">
                  <c:v>797.39560885844378</c:v>
                </c:pt>
                <c:pt idx="3">
                  <c:v>511.0932463706813</c:v>
                </c:pt>
                <c:pt idx="4">
                  <c:v>443.47550514361757</c:v>
                </c:pt>
                <c:pt idx="5">
                  <c:v>445.08389284809203</c:v>
                </c:pt>
                <c:pt idx="6">
                  <c:v>473.03430475898864</c:v>
                </c:pt>
                <c:pt idx="7">
                  <c:v>510.49477652715592</c:v>
                </c:pt>
                <c:pt idx="8">
                  <c:v>643.18676214630057</c:v>
                </c:pt>
                <c:pt idx="9">
                  <c:v>782.88271515295321</c:v>
                </c:pt>
                <c:pt idx="10">
                  <c:v>781.65772219198709</c:v>
                </c:pt>
                <c:pt idx="11">
                  <c:v>720.0153283088722</c:v>
                </c:pt>
                <c:pt idx="12">
                  <c:v>584.48996202428702</c:v>
                </c:pt>
                <c:pt idx="13">
                  <c:v>449.66592758758327</c:v>
                </c:pt>
                <c:pt idx="14">
                  <c:v>294.27884337099937</c:v>
                </c:pt>
                <c:pt idx="15">
                  <c:v>278.5222545219325</c:v>
                </c:pt>
                <c:pt idx="16">
                  <c:v>195.82120301976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4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% pozitivních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3</c:f>
              <c:numCache>
                <c:formatCode>m/d/yyyy</c:formatCode>
                <c:ptCount val="50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B$2:$B$503</c:f>
              <c:numCache>
                <c:formatCode>General</c:formatCode>
                <c:ptCount val="502"/>
                <c:pt idx="0">
                  <c:v>4.2578125000000001E-2</c:v>
                </c:pt>
                <c:pt idx="1">
                  <c:v>7.4248460702643973E-2</c:v>
                </c:pt>
                <c:pt idx="2">
                  <c:v>7.2607260726072612E-2</c:v>
                </c:pt>
                <c:pt idx="3">
                  <c:v>8.6986301369863017E-2</c:v>
                </c:pt>
                <c:pt idx="4">
                  <c:v>7.1942446043165464E-2</c:v>
                </c:pt>
                <c:pt idx="5">
                  <c:v>0.11900532859680284</c:v>
                </c:pt>
                <c:pt idx="6">
                  <c:v>5.9649122807017542E-2</c:v>
                </c:pt>
                <c:pt idx="7">
                  <c:v>8.959353053841243E-2</c:v>
                </c:pt>
                <c:pt idx="8">
                  <c:v>8.9890210430009151E-2</c:v>
                </c:pt>
                <c:pt idx="9">
                  <c:v>0.10696028313016123</c:v>
                </c:pt>
                <c:pt idx="10">
                  <c:v>8.0423280423280424E-2</c:v>
                </c:pt>
                <c:pt idx="11">
                  <c:v>0.14999050692994115</c:v>
                </c:pt>
                <c:pt idx="12">
                  <c:v>0.15258449304174951</c:v>
                </c:pt>
                <c:pt idx="13">
                  <c:v>6.9258266309204647E-2</c:v>
                </c:pt>
                <c:pt idx="14">
                  <c:v>8.4876543209876545E-2</c:v>
                </c:pt>
                <c:pt idx="15">
                  <c:v>0.1220594165882511</c:v>
                </c:pt>
                <c:pt idx="16">
                  <c:v>0.17897299177002435</c:v>
                </c:pt>
                <c:pt idx="17">
                  <c:v>0.1392354658879745</c:v>
                </c:pt>
                <c:pt idx="18">
                  <c:v>0.1439201758836462</c:v>
                </c:pt>
                <c:pt idx="19">
                  <c:v>0.11010248901903368</c:v>
                </c:pt>
                <c:pt idx="20">
                  <c:v>9.1959406713505068E-2</c:v>
                </c:pt>
                <c:pt idx="21">
                  <c:v>0.13528073745959535</c:v>
                </c:pt>
                <c:pt idx="22">
                  <c:v>0.13477481514676226</c:v>
                </c:pt>
                <c:pt idx="23">
                  <c:v>0.15211357813834331</c:v>
                </c:pt>
                <c:pt idx="24">
                  <c:v>0.16904212953259276</c:v>
                </c:pt>
                <c:pt idx="25">
                  <c:v>0.15870639317263063</c:v>
                </c:pt>
                <c:pt idx="26">
                  <c:v>0.15041782729805014</c:v>
                </c:pt>
                <c:pt idx="27">
                  <c:v>0.14099840679766332</c:v>
                </c:pt>
                <c:pt idx="28">
                  <c:v>0.1444428832373191</c:v>
                </c:pt>
                <c:pt idx="29">
                  <c:v>0.17602363866610385</c:v>
                </c:pt>
                <c:pt idx="30">
                  <c:v>0.20551135261013001</c:v>
                </c:pt>
                <c:pt idx="31">
                  <c:v>0.21028614887346705</c:v>
                </c:pt>
                <c:pt idx="32">
                  <c:v>0.21939921392476136</c:v>
                </c:pt>
                <c:pt idx="33">
                  <c:v>0.25933831376734257</c:v>
                </c:pt>
                <c:pt idx="34">
                  <c:v>0.24029323920716808</c:v>
                </c:pt>
                <c:pt idx="35">
                  <c:v>0.24011325235181294</c:v>
                </c:pt>
                <c:pt idx="36">
                  <c:v>0.27443991853360489</c:v>
                </c:pt>
                <c:pt idx="37">
                  <c:v>0.28363996369936473</c:v>
                </c:pt>
                <c:pt idx="38">
                  <c:v>0.39399955879108756</c:v>
                </c:pt>
                <c:pt idx="39">
                  <c:v>0.32565399935407469</c:v>
                </c:pt>
                <c:pt idx="40">
                  <c:v>0.33901444979622081</c:v>
                </c:pt>
                <c:pt idx="41">
                  <c:v>0.25643414463724234</c:v>
                </c:pt>
                <c:pt idx="42">
                  <c:v>0.32480555377000708</c:v>
                </c:pt>
                <c:pt idx="43">
                  <c:v>0.34665930425179459</c:v>
                </c:pt>
                <c:pt idx="44">
                  <c:v>0.35002265518803805</c:v>
                </c:pt>
                <c:pt idx="45">
                  <c:v>0.35471307434431076</c:v>
                </c:pt>
                <c:pt idx="46">
                  <c:v>0.36358055009823181</c:v>
                </c:pt>
                <c:pt idx="47">
                  <c:v>0.36916676037332735</c:v>
                </c:pt>
                <c:pt idx="48">
                  <c:v>0.34704037097654117</c:v>
                </c:pt>
                <c:pt idx="49">
                  <c:v>0.36273802003429295</c:v>
                </c:pt>
                <c:pt idx="50">
                  <c:v>0.40498352553542011</c:v>
                </c:pt>
                <c:pt idx="51">
                  <c:v>0.38703703703703701</c:v>
                </c:pt>
                <c:pt idx="52">
                  <c:v>0.40324061140599432</c:v>
                </c:pt>
                <c:pt idx="53">
                  <c:v>0.38376963350785342</c:v>
                </c:pt>
                <c:pt idx="54">
                  <c:v>0.41138365866298154</c:v>
                </c:pt>
                <c:pt idx="55">
                  <c:v>0.36162281886445896</c:v>
                </c:pt>
                <c:pt idx="56">
                  <c:v>0.38089708230512409</c:v>
                </c:pt>
                <c:pt idx="57">
                  <c:v>0.39351585651731613</c:v>
                </c:pt>
                <c:pt idx="58">
                  <c:v>0.37239840363901644</c:v>
                </c:pt>
                <c:pt idx="59">
                  <c:v>0.3441794814649729</c:v>
                </c:pt>
                <c:pt idx="60">
                  <c:v>0.38084123510819351</c:v>
                </c:pt>
                <c:pt idx="61">
                  <c:v>0.38586263435962836</c:v>
                </c:pt>
                <c:pt idx="62">
                  <c:v>0.37283878504672896</c:v>
                </c:pt>
                <c:pt idx="63">
                  <c:v>0.34541170735670473</c:v>
                </c:pt>
                <c:pt idx="64">
                  <c:v>0.41365225246455362</c:v>
                </c:pt>
                <c:pt idx="65">
                  <c:v>0.38112694620644205</c:v>
                </c:pt>
                <c:pt idx="66">
                  <c:v>0.3446927123139864</c:v>
                </c:pt>
                <c:pt idx="67">
                  <c:v>0.35789033068229387</c:v>
                </c:pt>
                <c:pt idx="68">
                  <c:v>0.32485294117647057</c:v>
                </c:pt>
                <c:pt idx="69">
                  <c:v>0.25703628348592744</c:v>
                </c:pt>
                <c:pt idx="70">
                  <c:v>0.30520928347015303</c:v>
                </c:pt>
                <c:pt idx="71">
                  <c:v>0.33211040243833606</c:v>
                </c:pt>
                <c:pt idx="72">
                  <c:v>0.32490654501679023</c:v>
                </c:pt>
                <c:pt idx="73">
                  <c:v>0.28896424167694207</c:v>
                </c:pt>
                <c:pt idx="74">
                  <c:v>0.32570127067849436</c:v>
                </c:pt>
                <c:pt idx="75">
                  <c:v>0.28315789473684211</c:v>
                </c:pt>
                <c:pt idx="76">
                  <c:v>0.26189708017422164</c:v>
                </c:pt>
                <c:pt idx="77">
                  <c:v>0.31005191127890513</c:v>
                </c:pt>
                <c:pt idx="78">
                  <c:v>0.2776880852437843</c:v>
                </c:pt>
                <c:pt idx="79">
                  <c:v>0.30558574222995</c:v>
                </c:pt>
                <c:pt idx="80">
                  <c:v>0.27479416874386281</c:v>
                </c:pt>
                <c:pt idx="81">
                  <c:v>0.28039383561643838</c:v>
                </c:pt>
                <c:pt idx="82">
                  <c:v>0.26949835225192237</c:v>
                </c:pt>
                <c:pt idx="83">
                  <c:v>0.23683041662965265</c:v>
                </c:pt>
                <c:pt idx="84">
                  <c:v>0.29969998420969524</c:v>
                </c:pt>
                <c:pt idx="85">
                  <c:v>0.27462414578587702</c:v>
                </c:pt>
                <c:pt idx="86">
                  <c:v>0.26706805719815074</c:v>
                </c:pt>
                <c:pt idx="87">
                  <c:v>0.25158307367574628</c:v>
                </c:pt>
                <c:pt idx="88">
                  <c:v>0.27010074130393463</c:v>
                </c:pt>
                <c:pt idx="89">
                  <c:v>0.21665947345705655</c:v>
                </c:pt>
                <c:pt idx="90">
                  <c:v>0.21372463451887411</c:v>
                </c:pt>
                <c:pt idx="91">
                  <c:v>0.2930519417943529</c:v>
                </c:pt>
                <c:pt idx="92">
                  <c:v>0.25413281031101148</c:v>
                </c:pt>
                <c:pt idx="93">
                  <c:v>0.28218950860460296</c:v>
                </c:pt>
                <c:pt idx="94">
                  <c:v>0.2734375</c:v>
                </c:pt>
                <c:pt idx="95">
                  <c:v>0.31320892791803878</c:v>
                </c:pt>
                <c:pt idx="96">
                  <c:v>0.20553659461509291</c:v>
                </c:pt>
                <c:pt idx="97">
                  <c:v>0.22690916015996954</c:v>
                </c:pt>
                <c:pt idx="98">
                  <c:v>0.28938243064729197</c:v>
                </c:pt>
                <c:pt idx="99">
                  <c:v>0.31959602541130477</c:v>
                </c:pt>
                <c:pt idx="100">
                  <c:v>0.28611512626477342</c:v>
                </c:pt>
                <c:pt idx="101">
                  <c:v>0.27260136954681852</c:v>
                </c:pt>
                <c:pt idx="102">
                  <c:v>0.30896551724137933</c:v>
                </c:pt>
                <c:pt idx="103">
                  <c:v>0.30692194403534612</c:v>
                </c:pt>
                <c:pt idx="104">
                  <c:v>0.25045497876765749</c:v>
                </c:pt>
                <c:pt idx="105">
                  <c:v>0.31540242407735258</c:v>
                </c:pt>
                <c:pt idx="106">
                  <c:v>0.32591170825335891</c:v>
                </c:pt>
                <c:pt idx="107">
                  <c:v>0.3088071348940914</c:v>
                </c:pt>
                <c:pt idx="108">
                  <c:v>0.3336946818007907</c:v>
                </c:pt>
                <c:pt idx="109">
                  <c:v>0.30957144361377276</c:v>
                </c:pt>
                <c:pt idx="110">
                  <c:v>0.40342465753424656</c:v>
                </c:pt>
                <c:pt idx="111">
                  <c:v>0.30586793540945789</c:v>
                </c:pt>
                <c:pt idx="112">
                  <c:v>0.35262922853634027</c:v>
                </c:pt>
                <c:pt idx="113">
                  <c:v>0.41354625550660795</c:v>
                </c:pt>
                <c:pt idx="114">
                  <c:v>0.44916783637457391</c:v>
                </c:pt>
                <c:pt idx="115">
                  <c:v>0.39199183881662841</c:v>
                </c:pt>
                <c:pt idx="116">
                  <c:v>0.41984166254329541</c:v>
                </c:pt>
                <c:pt idx="117">
                  <c:v>0.40330788804071249</c:v>
                </c:pt>
                <c:pt idx="118">
                  <c:v>0.45517293120264085</c:v>
                </c:pt>
                <c:pt idx="119">
                  <c:v>0.54337849046170861</c:v>
                </c:pt>
                <c:pt idx="120">
                  <c:v>0.53905331766214337</c:v>
                </c:pt>
                <c:pt idx="121">
                  <c:v>0.54472774416594638</c:v>
                </c:pt>
                <c:pt idx="122">
                  <c:v>0.52705354639753299</c:v>
                </c:pt>
                <c:pt idx="123">
                  <c:v>0.47094508301404853</c:v>
                </c:pt>
                <c:pt idx="124">
                  <c:v>0.50791891035793479</c:v>
                </c:pt>
                <c:pt idx="125">
                  <c:v>0.41054814482681312</c:v>
                </c:pt>
                <c:pt idx="126">
                  <c:v>0.46031746031746029</c:v>
                </c:pt>
                <c:pt idx="127">
                  <c:v>0.51550760932382966</c:v>
                </c:pt>
                <c:pt idx="128">
                  <c:v>0.4335157596027161</c:v>
                </c:pt>
                <c:pt idx="129">
                  <c:v>0.38522223368051972</c:v>
                </c:pt>
                <c:pt idx="130">
                  <c:v>0.48427063132945486</c:v>
                </c:pt>
                <c:pt idx="131">
                  <c:v>0.43403205918618987</c:v>
                </c:pt>
                <c:pt idx="132">
                  <c:v>0.31618664318953593</c:v>
                </c:pt>
                <c:pt idx="133">
                  <c:v>0.33752806333451496</c:v>
                </c:pt>
                <c:pt idx="134">
                  <c:v>0.37148809899614876</c:v>
                </c:pt>
                <c:pt idx="135">
                  <c:v>0.30692279811525913</c:v>
                </c:pt>
                <c:pt idx="136">
                  <c:v>0.33514077163712203</c:v>
                </c:pt>
                <c:pt idx="137">
                  <c:v>0.34338309899985503</c:v>
                </c:pt>
                <c:pt idx="138">
                  <c:v>0.34851190476190474</c:v>
                </c:pt>
                <c:pt idx="139">
                  <c:v>0.30167155192901846</c:v>
                </c:pt>
                <c:pt idx="140">
                  <c:v>0.35813321898227557</c:v>
                </c:pt>
                <c:pt idx="141">
                  <c:v>0.33598896889842195</c:v>
                </c:pt>
                <c:pt idx="142">
                  <c:v>0.3583815028901734</c:v>
                </c:pt>
                <c:pt idx="143">
                  <c:v>0.31110304789550075</c:v>
                </c:pt>
                <c:pt idx="144">
                  <c:v>0.34481582537517053</c:v>
                </c:pt>
                <c:pt idx="145">
                  <c:v>0.3408203125</c:v>
                </c:pt>
                <c:pt idx="146">
                  <c:v>0.28386511666254433</c:v>
                </c:pt>
                <c:pt idx="147">
                  <c:v>0.34294053265231667</c:v>
                </c:pt>
                <c:pt idx="148">
                  <c:v>0.32751218802299353</c:v>
                </c:pt>
                <c:pt idx="149">
                  <c:v>0.33477621692257431</c:v>
                </c:pt>
                <c:pt idx="150">
                  <c:v>0.29386318645061954</c:v>
                </c:pt>
                <c:pt idx="151">
                  <c:v>0.32453092425295343</c:v>
                </c:pt>
                <c:pt idx="152">
                  <c:v>0.39115290839428768</c:v>
                </c:pt>
                <c:pt idx="153">
                  <c:v>0.29444951464365721</c:v>
                </c:pt>
                <c:pt idx="154">
                  <c:v>0.34107245543415754</c:v>
                </c:pt>
                <c:pt idx="155">
                  <c:v>0.34767884859602088</c:v>
                </c:pt>
                <c:pt idx="156">
                  <c:v>0.32065799540933437</c:v>
                </c:pt>
                <c:pt idx="157">
                  <c:v>0.31151042050224609</c:v>
                </c:pt>
                <c:pt idx="158">
                  <c:v>0.35767410412440837</c:v>
                </c:pt>
                <c:pt idx="159">
                  <c:v>0.35818307905686547</c:v>
                </c:pt>
                <c:pt idx="160">
                  <c:v>0.3369247626004383</c:v>
                </c:pt>
                <c:pt idx="161">
                  <c:v>0.37472924187725631</c:v>
                </c:pt>
                <c:pt idx="162">
                  <c:v>0.36263415346426225</c:v>
                </c:pt>
                <c:pt idx="163">
                  <c:v>0.35162678342266174</c:v>
                </c:pt>
                <c:pt idx="164">
                  <c:v>0.31623563218390804</c:v>
                </c:pt>
                <c:pt idx="165">
                  <c:v>0.34189927632550582</c:v>
                </c:pt>
                <c:pt idx="166">
                  <c:v>0.37018255578093306</c:v>
                </c:pt>
                <c:pt idx="167">
                  <c:v>0.33096315449256625</c:v>
                </c:pt>
                <c:pt idx="168">
                  <c:v>0.41100754549489571</c:v>
                </c:pt>
                <c:pt idx="169">
                  <c:v>0.38264181198637004</c:v>
                </c:pt>
                <c:pt idx="170">
                  <c:v>0.37686637686637686</c:v>
                </c:pt>
                <c:pt idx="171">
                  <c:v>0.33385928003740067</c:v>
                </c:pt>
                <c:pt idx="172">
                  <c:v>0.40914051841746246</c:v>
                </c:pt>
                <c:pt idx="173">
                  <c:v>0.49045691150954307</c:v>
                </c:pt>
                <c:pt idx="174">
                  <c:v>0.36876587779114856</c:v>
                </c:pt>
                <c:pt idx="175">
                  <c:v>0.42782505655499298</c:v>
                </c:pt>
                <c:pt idx="176">
                  <c:v>0.40307284768211921</c:v>
                </c:pt>
                <c:pt idx="177">
                  <c:v>0.40154980358392078</c:v>
                </c:pt>
                <c:pt idx="178">
                  <c:v>0.36824927329287571</c:v>
                </c:pt>
                <c:pt idx="179">
                  <c:v>0.37488265359340772</c:v>
                </c:pt>
                <c:pt idx="180">
                  <c:v>0.4110121087502856</c:v>
                </c:pt>
                <c:pt idx="181">
                  <c:v>0.37478389725858235</c:v>
                </c:pt>
                <c:pt idx="182">
                  <c:v>0.41307513104251603</c:v>
                </c:pt>
                <c:pt idx="183">
                  <c:v>0.40212373037857801</c:v>
                </c:pt>
                <c:pt idx="184">
                  <c:v>0.39977054651647892</c:v>
                </c:pt>
                <c:pt idx="185">
                  <c:v>0.33018254563640909</c:v>
                </c:pt>
                <c:pt idx="186">
                  <c:v>0.46855775803144223</c:v>
                </c:pt>
                <c:pt idx="187">
                  <c:v>0.39492502883506342</c:v>
                </c:pt>
                <c:pt idx="188">
                  <c:v>0.33566713342668536</c:v>
                </c:pt>
                <c:pt idx="189">
                  <c:v>0.39554394932770309</c:v>
                </c:pt>
                <c:pt idx="190">
                  <c:v>0.37345374931581826</c:v>
                </c:pt>
                <c:pt idx="191">
                  <c:v>0.33364295002786548</c:v>
                </c:pt>
                <c:pt idx="192">
                  <c:v>0.42954102920723225</c:v>
                </c:pt>
                <c:pt idx="193">
                  <c:v>0.37983281086729365</c:v>
                </c:pt>
                <c:pt idx="194">
                  <c:v>0.39940119760479043</c:v>
                </c:pt>
                <c:pt idx="195">
                  <c:v>0.31705342687533727</c:v>
                </c:pt>
                <c:pt idx="196">
                  <c:v>0.38573198796247121</c:v>
                </c:pt>
                <c:pt idx="197">
                  <c:v>0.36956102577286459</c:v>
                </c:pt>
                <c:pt idx="198">
                  <c:v>0.35047062179121508</c:v>
                </c:pt>
                <c:pt idx="199">
                  <c:v>0.30510629281728935</c:v>
                </c:pt>
                <c:pt idx="200">
                  <c:v>0.31097229766431289</c:v>
                </c:pt>
                <c:pt idx="201">
                  <c:v>0.31823008849557521</c:v>
                </c:pt>
                <c:pt idx="202">
                  <c:v>0.2598170635546444</c:v>
                </c:pt>
                <c:pt idx="203">
                  <c:v>0.32769611031611812</c:v>
                </c:pt>
                <c:pt idx="204">
                  <c:v>0.33084368569468792</c:v>
                </c:pt>
                <c:pt idx="205">
                  <c:v>0.27133445687145702</c:v>
                </c:pt>
                <c:pt idx="206">
                  <c:v>0.27829388480491152</c:v>
                </c:pt>
                <c:pt idx="207">
                  <c:v>0.31620089896423687</c:v>
                </c:pt>
                <c:pt idx="208">
                  <c:v>0.16007194244604317</c:v>
                </c:pt>
                <c:pt idx="209">
                  <c:v>0.2351704810836058</c:v>
                </c:pt>
                <c:pt idx="210">
                  <c:v>0.28296123918260491</c:v>
                </c:pt>
                <c:pt idx="211">
                  <c:v>0.2714748784440843</c:v>
                </c:pt>
                <c:pt idx="212">
                  <c:v>0.25809090909090909</c:v>
                </c:pt>
                <c:pt idx="213">
                  <c:v>0.28420107719928189</c:v>
                </c:pt>
                <c:pt idx="214">
                  <c:v>0.26872110939907551</c:v>
                </c:pt>
                <c:pt idx="215">
                  <c:v>0.26471750296325564</c:v>
                </c:pt>
                <c:pt idx="216">
                  <c:v>0.13211845102505695</c:v>
                </c:pt>
                <c:pt idx="217">
                  <c:v>0.20251550947565225</c:v>
                </c:pt>
                <c:pt idx="218">
                  <c:v>0.26575597640484322</c:v>
                </c:pt>
                <c:pt idx="219">
                  <c:v>0.2589892621416609</c:v>
                </c:pt>
                <c:pt idx="220">
                  <c:v>0.22140608604407136</c:v>
                </c:pt>
                <c:pt idx="221">
                  <c:v>0.19516229067603888</c:v>
                </c:pt>
                <c:pt idx="222">
                  <c:v>0.16879682679594535</c:v>
                </c:pt>
                <c:pt idx="223">
                  <c:v>0.13333333333333333</c:v>
                </c:pt>
                <c:pt idx="224">
                  <c:v>0.19644560034677069</c:v>
                </c:pt>
                <c:pt idx="225">
                  <c:v>0.16065921356977642</c:v>
                </c:pt>
                <c:pt idx="226">
                  <c:v>0.17677763600510382</c:v>
                </c:pt>
                <c:pt idx="227">
                  <c:v>0.15875185058649358</c:v>
                </c:pt>
                <c:pt idx="228">
                  <c:v>0.1552346570397112</c:v>
                </c:pt>
                <c:pt idx="229">
                  <c:v>0.14097744360902256</c:v>
                </c:pt>
                <c:pt idx="230">
                  <c:v>0.13169319826338641</c:v>
                </c:pt>
                <c:pt idx="231">
                  <c:v>0.183702939659618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B9A-4D08-B0C2-616EB3DD0F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% pozitivních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3</c:f>
              <c:numCache>
                <c:formatCode>m/d/yyyy</c:formatCode>
                <c:ptCount val="50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B$2:$B$503</c:f>
              <c:numCache>
                <c:formatCode>General</c:formatCode>
                <c:ptCount val="502"/>
                <c:pt idx="0">
                  <c:v>3.9381854436689928E-2</c:v>
                </c:pt>
                <c:pt idx="1">
                  <c:v>5.4511278195488719E-2</c:v>
                </c:pt>
                <c:pt idx="2">
                  <c:v>6.3063063063063057E-2</c:v>
                </c:pt>
                <c:pt idx="3">
                  <c:v>6.8493150684931503E-2</c:v>
                </c:pt>
                <c:pt idx="4">
                  <c:v>6.5517241379310351E-2</c:v>
                </c:pt>
                <c:pt idx="5">
                  <c:v>8.2191780821917804E-2</c:v>
                </c:pt>
                <c:pt idx="6">
                  <c:v>5.06108202443281E-2</c:v>
                </c:pt>
                <c:pt idx="7">
                  <c:v>6.8083795440542202E-2</c:v>
                </c:pt>
                <c:pt idx="8">
                  <c:v>8.0916030534351147E-2</c:v>
                </c:pt>
                <c:pt idx="9">
                  <c:v>8.5668534827862283E-2</c:v>
                </c:pt>
                <c:pt idx="10">
                  <c:v>7.4685900418799439E-2</c:v>
                </c:pt>
                <c:pt idx="11">
                  <c:v>0.10572831423895254</c:v>
                </c:pt>
                <c:pt idx="12">
                  <c:v>0.10809141445336627</c:v>
                </c:pt>
                <c:pt idx="13">
                  <c:v>5.8763931104356633E-2</c:v>
                </c:pt>
                <c:pt idx="14">
                  <c:v>8.587429993777225E-2</c:v>
                </c:pt>
                <c:pt idx="15">
                  <c:v>0.10600414078674948</c:v>
                </c:pt>
                <c:pt idx="16">
                  <c:v>0.12359750667853962</c:v>
                </c:pt>
                <c:pt idx="17">
                  <c:v>9.2871766238600412E-2</c:v>
                </c:pt>
                <c:pt idx="18">
                  <c:v>0.11220159151193634</c:v>
                </c:pt>
                <c:pt idx="19">
                  <c:v>8.6000771307365984E-2</c:v>
                </c:pt>
                <c:pt idx="20">
                  <c:v>8.326068003487358E-2</c:v>
                </c:pt>
                <c:pt idx="21">
                  <c:v>9.9665924276169271E-2</c:v>
                </c:pt>
                <c:pt idx="22">
                  <c:v>9.8643006263048019E-2</c:v>
                </c:pt>
                <c:pt idx="23">
                  <c:v>0.12045339198105227</c:v>
                </c:pt>
                <c:pt idx="24">
                  <c:v>0.11540251279664961</c:v>
                </c:pt>
                <c:pt idx="25">
                  <c:v>0.12677813825804843</c:v>
                </c:pt>
                <c:pt idx="26">
                  <c:v>0.11883738042678441</c:v>
                </c:pt>
                <c:pt idx="27">
                  <c:v>0.10077519379844961</c:v>
                </c:pt>
                <c:pt idx="28">
                  <c:v>0.10857508532423209</c:v>
                </c:pt>
                <c:pt idx="29">
                  <c:v>0.12968355659095321</c:v>
                </c:pt>
                <c:pt idx="30">
                  <c:v>0.14043624161073825</c:v>
                </c:pt>
                <c:pt idx="31">
                  <c:v>0.16175217317197887</c:v>
                </c:pt>
                <c:pt idx="32">
                  <c:v>0.16417910447761194</c:v>
                </c:pt>
                <c:pt idx="33">
                  <c:v>0.23257176332747509</c:v>
                </c:pt>
                <c:pt idx="34">
                  <c:v>0.18188405797101448</c:v>
                </c:pt>
                <c:pt idx="35">
                  <c:v>0.17559309849029475</c:v>
                </c:pt>
                <c:pt idx="36">
                  <c:v>0.20630725863284002</c:v>
                </c:pt>
                <c:pt idx="37">
                  <c:v>0.19767833109017496</c:v>
                </c:pt>
                <c:pt idx="38">
                  <c:v>0.2785394717852504</c:v>
                </c:pt>
                <c:pt idx="39">
                  <c:v>0.24047561271536036</c:v>
                </c:pt>
                <c:pt idx="40">
                  <c:v>0.23152364273204903</c:v>
                </c:pt>
                <c:pt idx="41">
                  <c:v>0.20346844121798749</c:v>
                </c:pt>
                <c:pt idx="42">
                  <c:v>0.22837265577737448</c:v>
                </c:pt>
                <c:pt idx="43">
                  <c:v>0.2333953241232731</c:v>
                </c:pt>
                <c:pt idx="44">
                  <c:v>0.23537896669289274</c:v>
                </c:pt>
                <c:pt idx="45">
                  <c:v>0.25469497974714617</c:v>
                </c:pt>
                <c:pt idx="46">
                  <c:v>0.24043882370866981</c:v>
                </c:pt>
                <c:pt idx="47">
                  <c:v>0.24514672686230249</c:v>
                </c:pt>
                <c:pt idx="48">
                  <c:v>0.23567708333333334</c:v>
                </c:pt>
                <c:pt idx="49">
                  <c:v>0.23910256410256411</c:v>
                </c:pt>
                <c:pt idx="50">
                  <c:v>0.27661561449383637</c:v>
                </c:pt>
                <c:pt idx="51">
                  <c:v>0.2580702063856059</c:v>
                </c:pt>
                <c:pt idx="52">
                  <c:v>0.27641694975862685</c:v>
                </c:pt>
                <c:pt idx="53">
                  <c:v>0.25541125541125542</c:v>
                </c:pt>
                <c:pt idx="54">
                  <c:v>0.28131089459698849</c:v>
                </c:pt>
                <c:pt idx="55">
                  <c:v>0.25634578544061304</c:v>
                </c:pt>
                <c:pt idx="56">
                  <c:v>0.27226647356987688</c:v>
                </c:pt>
                <c:pt idx="57">
                  <c:v>0.25211213517665132</c:v>
                </c:pt>
                <c:pt idx="58">
                  <c:v>0.24078734495775661</c:v>
                </c:pt>
                <c:pt idx="59">
                  <c:v>0.24108996539792388</c:v>
                </c:pt>
                <c:pt idx="60">
                  <c:v>0.25360868190917712</c:v>
                </c:pt>
                <c:pt idx="61">
                  <c:v>0.27663934426229508</c:v>
                </c:pt>
                <c:pt idx="62">
                  <c:v>0.22775936783074177</c:v>
                </c:pt>
                <c:pt idx="63">
                  <c:v>0.22575123621148727</c:v>
                </c:pt>
                <c:pt idx="64">
                  <c:v>0.27525098210388477</c:v>
                </c:pt>
                <c:pt idx="65">
                  <c:v>0.24411468352111385</c:v>
                </c:pt>
                <c:pt idx="66">
                  <c:v>0.25242812742812742</c:v>
                </c:pt>
                <c:pt idx="67">
                  <c:v>0.26189496777732074</c:v>
                </c:pt>
                <c:pt idx="68">
                  <c:v>0.23415085608514577</c:v>
                </c:pt>
                <c:pt idx="69">
                  <c:v>0.18887601390498263</c:v>
                </c:pt>
                <c:pt idx="70">
                  <c:v>0.20329826556724481</c:v>
                </c:pt>
                <c:pt idx="71">
                  <c:v>0.20596577017114914</c:v>
                </c:pt>
                <c:pt idx="72">
                  <c:v>0.21057884231536927</c:v>
                </c:pt>
                <c:pt idx="73">
                  <c:v>0.20767927724449464</c:v>
                </c:pt>
                <c:pt idx="74">
                  <c:v>0.23947025618758142</c:v>
                </c:pt>
                <c:pt idx="75">
                  <c:v>0.22192716236722307</c:v>
                </c:pt>
                <c:pt idx="76">
                  <c:v>0.15958028199803256</c:v>
                </c:pt>
                <c:pt idx="77">
                  <c:v>0.22262843948431787</c:v>
                </c:pt>
                <c:pt idx="78">
                  <c:v>0.18100078186082877</c:v>
                </c:pt>
                <c:pt idx="79">
                  <c:v>0.2112694997310382</c:v>
                </c:pt>
                <c:pt idx="80">
                  <c:v>0.21408763172490294</c:v>
                </c:pt>
                <c:pt idx="81">
                  <c:v>0.20484382073336352</c:v>
                </c:pt>
                <c:pt idx="82">
                  <c:v>0.21610003907776476</c:v>
                </c:pt>
                <c:pt idx="83">
                  <c:v>0.13277831145266303</c:v>
                </c:pt>
                <c:pt idx="84">
                  <c:v>0.19881673087506879</c:v>
                </c:pt>
                <c:pt idx="85">
                  <c:v>0.1826620965438446</c:v>
                </c:pt>
                <c:pt idx="86">
                  <c:v>0.16752994496600843</c:v>
                </c:pt>
                <c:pt idx="87">
                  <c:v>0.18501326259946949</c:v>
                </c:pt>
                <c:pt idx="88">
                  <c:v>0.22454804947668885</c:v>
                </c:pt>
                <c:pt idx="89">
                  <c:v>0.20087124878993223</c:v>
                </c:pt>
                <c:pt idx="90">
                  <c:v>0.11328388401888065</c:v>
                </c:pt>
                <c:pt idx="91">
                  <c:v>0.1914477703115455</c:v>
                </c:pt>
                <c:pt idx="92">
                  <c:v>0.17918414029736943</c:v>
                </c:pt>
                <c:pt idx="93">
                  <c:v>0.19764542936288088</c:v>
                </c:pt>
                <c:pt idx="94">
                  <c:v>0.1997836278398846</c:v>
                </c:pt>
                <c:pt idx="95">
                  <c:v>0.27081995290087774</c:v>
                </c:pt>
                <c:pt idx="96">
                  <c:v>0.16581849024597117</c:v>
                </c:pt>
                <c:pt idx="97">
                  <c:v>0.13093793747083526</c:v>
                </c:pt>
                <c:pt idx="98">
                  <c:v>0.18867924528301888</c:v>
                </c:pt>
                <c:pt idx="99">
                  <c:v>0.19901417128773877</c:v>
                </c:pt>
                <c:pt idx="100">
                  <c:v>0.20533880903490759</c:v>
                </c:pt>
                <c:pt idx="101">
                  <c:v>0.18800794654144845</c:v>
                </c:pt>
                <c:pt idx="102">
                  <c:v>0.21068776235066194</c:v>
                </c:pt>
                <c:pt idx="103">
                  <c:v>0.21766363921077356</c:v>
                </c:pt>
                <c:pt idx="104">
                  <c:v>0.13921631092704684</c:v>
                </c:pt>
                <c:pt idx="105">
                  <c:v>0.19639855942376952</c:v>
                </c:pt>
                <c:pt idx="106">
                  <c:v>0.18313271254447724</c:v>
                </c:pt>
                <c:pt idx="107">
                  <c:v>0.17398662261261988</c:v>
                </c:pt>
                <c:pt idx="108">
                  <c:v>0.18023414102913149</c:v>
                </c:pt>
                <c:pt idx="109">
                  <c:v>0.1780655157149181</c:v>
                </c:pt>
                <c:pt idx="110">
                  <c:v>0.18771833057547344</c:v>
                </c:pt>
                <c:pt idx="111">
                  <c:v>0.1466398723328802</c:v>
                </c:pt>
                <c:pt idx="112">
                  <c:v>0.17042901465710925</c:v>
                </c:pt>
                <c:pt idx="113">
                  <c:v>0.18441417386975609</c:v>
                </c:pt>
                <c:pt idx="114">
                  <c:v>0.23699763593380616</c:v>
                </c:pt>
                <c:pt idx="115">
                  <c:v>0.21904761904761905</c:v>
                </c:pt>
                <c:pt idx="116">
                  <c:v>0.18763510592304367</c:v>
                </c:pt>
                <c:pt idx="117">
                  <c:v>0.19588706866504008</c:v>
                </c:pt>
                <c:pt idx="118">
                  <c:v>0.20364532584398465</c:v>
                </c:pt>
                <c:pt idx="119">
                  <c:v>0.27034358047016277</c:v>
                </c:pt>
                <c:pt idx="120">
                  <c:v>0.27182462207842917</c:v>
                </c:pt>
                <c:pt idx="121">
                  <c:v>0.30247452692867538</c:v>
                </c:pt>
                <c:pt idx="122">
                  <c:v>0.35770234986945171</c:v>
                </c:pt>
                <c:pt idx="123">
                  <c:v>0.20586946999561981</c:v>
                </c:pt>
                <c:pt idx="124">
                  <c:v>0.26003444164790041</c:v>
                </c:pt>
                <c:pt idx="125">
                  <c:v>0.19939411998410805</c:v>
                </c:pt>
                <c:pt idx="126">
                  <c:v>0.25119165839126117</c:v>
                </c:pt>
                <c:pt idx="127">
                  <c:v>0.29273232264784166</c:v>
                </c:pt>
                <c:pt idx="128">
                  <c:v>0.26335164523984822</c:v>
                </c:pt>
                <c:pt idx="129">
                  <c:v>0.22708389533315348</c:v>
                </c:pt>
                <c:pt idx="130">
                  <c:v>0.28447360802856314</c:v>
                </c:pt>
                <c:pt idx="131">
                  <c:v>0.23686664594342555</c:v>
                </c:pt>
                <c:pt idx="132">
                  <c:v>0.15805058006892869</c:v>
                </c:pt>
                <c:pt idx="133">
                  <c:v>0.20738219895287957</c:v>
                </c:pt>
                <c:pt idx="134">
                  <c:v>0.22979464392938634</c:v>
                </c:pt>
                <c:pt idx="135">
                  <c:v>0.18163432977311508</c:v>
                </c:pt>
                <c:pt idx="136">
                  <c:v>0.21053257958940791</c:v>
                </c:pt>
                <c:pt idx="137">
                  <c:v>0.24330682200067211</c:v>
                </c:pt>
                <c:pt idx="138">
                  <c:v>0.22619808306709266</c:v>
                </c:pt>
                <c:pt idx="139">
                  <c:v>0.16196912257568266</c:v>
                </c:pt>
                <c:pt idx="140">
                  <c:v>0.2239131790681719</c:v>
                </c:pt>
                <c:pt idx="141">
                  <c:v>0.20671366230278618</c:v>
                </c:pt>
                <c:pt idx="142">
                  <c:v>0.20198499886355026</c:v>
                </c:pt>
                <c:pt idx="143">
                  <c:v>0.19676053745628566</c:v>
                </c:pt>
                <c:pt idx="144">
                  <c:v>0.22741603838245372</c:v>
                </c:pt>
                <c:pt idx="145">
                  <c:v>0.20775389801938474</c:v>
                </c:pt>
                <c:pt idx="146">
                  <c:v>0.15178116327802005</c:v>
                </c:pt>
                <c:pt idx="147">
                  <c:v>0.22484982611444831</c:v>
                </c:pt>
                <c:pt idx="148">
                  <c:v>0.18622448979591838</c:v>
                </c:pt>
                <c:pt idx="149">
                  <c:v>0.2220712344442855</c:v>
                </c:pt>
                <c:pt idx="150">
                  <c:v>0.19376444786912453</c:v>
                </c:pt>
                <c:pt idx="151">
                  <c:v>0.20796792783763468</c:v>
                </c:pt>
                <c:pt idx="152">
                  <c:v>0.20718118035493191</c:v>
                </c:pt>
                <c:pt idx="153">
                  <c:v>0.15158963398343575</c:v>
                </c:pt>
                <c:pt idx="154">
                  <c:v>0.20176980423055943</c:v>
                </c:pt>
                <c:pt idx="155">
                  <c:v>0.21845607808340728</c:v>
                </c:pt>
                <c:pt idx="156">
                  <c:v>0.19516813581456088</c:v>
                </c:pt>
                <c:pt idx="157">
                  <c:v>0.19160104986876642</c:v>
                </c:pt>
                <c:pt idx="158">
                  <c:v>0.2415834687717669</c:v>
                </c:pt>
                <c:pt idx="159">
                  <c:v>0.18135011441647597</c:v>
                </c:pt>
                <c:pt idx="160">
                  <c:v>0.16685511225973187</c:v>
                </c:pt>
                <c:pt idx="161">
                  <c:v>0.21839206444895051</c:v>
                </c:pt>
                <c:pt idx="162">
                  <c:v>0.20798962997878859</c:v>
                </c:pt>
                <c:pt idx="163">
                  <c:v>0.20733176888437876</c:v>
                </c:pt>
                <c:pt idx="164">
                  <c:v>0.19135353082824663</c:v>
                </c:pt>
                <c:pt idx="165">
                  <c:v>0.21945874876739344</c:v>
                </c:pt>
                <c:pt idx="166">
                  <c:v>0.20333024976873265</c:v>
                </c:pt>
                <c:pt idx="167">
                  <c:v>0.17515677761698023</c:v>
                </c:pt>
                <c:pt idx="168">
                  <c:v>0.23667302479670715</c:v>
                </c:pt>
                <c:pt idx="169">
                  <c:v>0.20444838003958746</c:v>
                </c:pt>
                <c:pt idx="170">
                  <c:v>0.21889828760057767</c:v>
                </c:pt>
                <c:pt idx="171">
                  <c:v>0.1939482988199642</c:v>
                </c:pt>
                <c:pt idx="172">
                  <c:v>0.25050338641771919</c:v>
                </c:pt>
                <c:pt idx="173">
                  <c:v>0.2305843473035902</c:v>
                </c:pt>
                <c:pt idx="174">
                  <c:v>0.18194166999600481</c:v>
                </c:pt>
                <c:pt idx="175">
                  <c:v>0.24341751746372917</c:v>
                </c:pt>
                <c:pt idx="176">
                  <c:v>0.20550980310187703</c:v>
                </c:pt>
                <c:pt idx="177">
                  <c:v>0.22602179249752358</c:v>
                </c:pt>
                <c:pt idx="178">
                  <c:v>0.2071884984025559</c:v>
                </c:pt>
                <c:pt idx="179">
                  <c:v>0.22141380102626942</c:v>
                </c:pt>
                <c:pt idx="180">
                  <c:v>0.21569365976145638</c:v>
                </c:pt>
                <c:pt idx="181">
                  <c:v>0.17589527535359614</c:v>
                </c:pt>
                <c:pt idx="182">
                  <c:v>0.22570579494799406</c:v>
                </c:pt>
                <c:pt idx="183">
                  <c:v>0.21450127064803048</c:v>
                </c:pt>
                <c:pt idx="184">
                  <c:v>0.19654746242474982</c:v>
                </c:pt>
                <c:pt idx="185">
                  <c:v>0.17229890528319847</c:v>
                </c:pt>
                <c:pt idx="186">
                  <c:v>0.26687068424356558</c:v>
                </c:pt>
                <c:pt idx="187">
                  <c:v>0.17498051441932969</c:v>
                </c:pt>
                <c:pt idx="188">
                  <c:v>0.132950019272774</c:v>
                </c:pt>
                <c:pt idx="189">
                  <c:v>0.18283791362871565</c:v>
                </c:pt>
                <c:pt idx="190">
                  <c:v>0.16834326875310482</c:v>
                </c:pt>
                <c:pt idx="191">
                  <c:v>0.1307531380753138</c:v>
                </c:pt>
                <c:pt idx="192">
                  <c:v>0.1716555680094943</c:v>
                </c:pt>
                <c:pt idx="193">
                  <c:v>0.2238753719586907</c:v>
                </c:pt>
                <c:pt idx="194">
                  <c:v>0.16209541141297285</c:v>
                </c:pt>
                <c:pt idx="195">
                  <c:v>0.12392498474171891</c:v>
                </c:pt>
                <c:pt idx="196">
                  <c:v>0.16257936388529473</c:v>
                </c:pt>
                <c:pt idx="197">
                  <c:v>0.14441043300809897</c:v>
                </c:pt>
                <c:pt idx="198">
                  <c:v>0.13732215015790009</c:v>
                </c:pt>
                <c:pt idx="199">
                  <c:v>0.13864909889444191</c:v>
                </c:pt>
                <c:pt idx="200">
                  <c:v>0.20945755382156622</c:v>
                </c:pt>
                <c:pt idx="201">
                  <c:v>0.13192052980132452</c:v>
                </c:pt>
                <c:pt idx="202">
                  <c:v>0.10030762469786859</c:v>
                </c:pt>
                <c:pt idx="203">
                  <c:v>0.1356195948170093</c:v>
                </c:pt>
                <c:pt idx="204">
                  <c:v>0.11228601935728309</c:v>
                </c:pt>
                <c:pt idx="205">
                  <c:v>0.10766773162939297</c:v>
                </c:pt>
                <c:pt idx="206">
                  <c:v>0.12448518129693935</c:v>
                </c:pt>
                <c:pt idx="207">
                  <c:v>0.19216304743418658</c:v>
                </c:pt>
                <c:pt idx="208">
                  <c:v>0.13106367966131593</c:v>
                </c:pt>
                <c:pt idx="209">
                  <c:v>8.6720180256301932E-2</c:v>
                </c:pt>
                <c:pt idx="210">
                  <c:v>0.11396600380652359</c:v>
                </c:pt>
                <c:pt idx="211">
                  <c:v>9.7164858242912142E-2</c:v>
                </c:pt>
                <c:pt idx="212">
                  <c:v>7.9378914068048298E-2</c:v>
                </c:pt>
                <c:pt idx="213">
                  <c:v>0.15218743520630312</c:v>
                </c:pt>
                <c:pt idx="214">
                  <c:v>0.16286324084715154</c:v>
                </c:pt>
                <c:pt idx="215">
                  <c:v>0.15220148577640877</c:v>
                </c:pt>
                <c:pt idx="216">
                  <c:v>9.5527505064671961E-2</c:v>
                </c:pt>
                <c:pt idx="217">
                  <c:v>5.6155606407322652E-2</c:v>
                </c:pt>
                <c:pt idx="218">
                  <c:v>8.2973152033315456E-2</c:v>
                </c:pt>
                <c:pt idx="219">
                  <c:v>7.279663349982303E-2</c:v>
                </c:pt>
                <c:pt idx="220">
                  <c:v>8.7853398010681566E-2</c:v>
                </c:pt>
                <c:pt idx="221">
                  <c:v>0.12899866091355452</c:v>
                </c:pt>
                <c:pt idx="222">
                  <c:v>7.0605908863294944E-2</c:v>
                </c:pt>
                <c:pt idx="223">
                  <c:v>5.419298897559767E-2</c:v>
                </c:pt>
                <c:pt idx="224">
                  <c:v>7.2339246119733927E-2</c:v>
                </c:pt>
                <c:pt idx="225">
                  <c:v>6.0169627140342456E-2</c:v>
                </c:pt>
                <c:pt idx="226">
                  <c:v>5.5152204338698392E-2</c:v>
                </c:pt>
                <c:pt idx="227">
                  <c:v>7.8828828828828829E-2</c:v>
                </c:pt>
                <c:pt idx="228">
                  <c:v>0.11107365582336086</c:v>
                </c:pt>
                <c:pt idx="229">
                  <c:v>6.3426002996504083E-2</c:v>
                </c:pt>
                <c:pt idx="230">
                  <c:v>5.3484602917341979E-2</c:v>
                </c:pt>
                <c:pt idx="231">
                  <c:v>6.713881019830028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489-4192-AD68-066AC97136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65_14_10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F8-4987-9C0D-80515669533E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CF8-4987-9C0D-80515669533E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solidFill>
                  <a:srgbClr val="30598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CF8-4987-9C0D-80515669533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VK</c:v>
                </c:pt>
                <c:pt idx="1">
                  <c:v>HKK</c:v>
                </c:pt>
                <c:pt idx="2">
                  <c:v>PLK</c:v>
                </c:pt>
                <c:pt idx="3">
                  <c:v>PHA</c:v>
                </c:pt>
                <c:pt idx="4">
                  <c:v>STC</c:v>
                </c:pt>
                <c:pt idx="5">
                  <c:v>LBK</c:v>
                </c:pt>
                <c:pt idx="6">
                  <c:v>JMK</c:v>
                </c:pt>
                <c:pt idx="7">
                  <c:v>ČR</c:v>
                </c:pt>
                <c:pt idx="8">
                  <c:v>OLK</c:v>
                </c:pt>
                <c:pt idx="9">
                  <c:v>PAK</c:v>
                </c:pt>
                <c:pt idx="10">
                  <c:v>MSK</c:v>
                </c:pt>
                <c:pt idx="11">
                  <c:v>JHC</c:v>
                </c:pt>
                <c:pt idx="12">
                  <c:v>VYS</c:v>
                </c:pt>
                <c:pt idx="13">
                  <c:v>ULK</c:v>
                </c:pt>
                <c:pt idx="14">
                  <c:v>ZLK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119.65</c:v>
                </c:pt>
                <c:pt idx="1">
                  <c:v>136.51</c:v>
                </c:pt>
                <c:pt idx="2">
                  <c:v>224.75</c:v>
                </c:pt>
                <c:pt idx="3">
                  <c:v>257.60000000000002</c:v>
                </c:pt>
                <c:pt idx="4">
                  <c:v>266.98</c:v>
                </c:pt>
                <c:pt idx="5">
                  <c:v>332.57</c:v>
                </c:pt>
                <c:pt idx="6">
                  <c:v>334.84</c:v>
                </c:pt>
                <c:pt idx="7">
                  <c:v>338.66</c:v>
                </c:pt>
                <c:pt idx="8">
                  <c:v>382.63</c:v>
                </c:pt>
                <c:pt idx="9">
                  <c:v>391.2</c:v>
                </c:pt>
                <c:pt idx="10">
                  <c:v>401.94</c:v>
                </c:pt>
                <c:pt idx="11">
                  <c:v>419.47</c:v>
                </c:pt>
                <c:pt idx="12">
                  <c:v>434.36</c:v>
                </c:pt>
                <c:pt idx="13">
                  <c:v>492.18</c:v>
                </c:pt>
                <c:pt idx="14">
                  <c:v>492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CF8-4987-9C0D-8051566953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14_10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89-4284-9BB7-72C56D023830}"/>
              </c:ext>
            </c:extLst>
          </c:dPt>
          <c:dPt>
            <c:idx val="7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89-4284-9BB7-72C56D023830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689-4284-9BB7-72C56D023830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689-4284-9BB7-72C56D02383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VK</c:v>
                </c:pt>
                <c:pt idx="1">
                  <c:v>HKK</c:v>
                </c:pt>
                <c:pt idx="2">
                  <c:v>PLK</c:v>
                </c:pt>
                <c:pt idx="3">
                  <c:v>PHA</c:v>
                </c:pt>
                <c:pt idx="4">
                  <c:v>STC</c:v>
                </c:pt>
                <c:pt idx="5">
                  <c:v>LBK</c:v>
                </c:pt>
                <c:pt idx="6">
                  <c:v>JMK</c:v>
                </c:pt>
                <c:pt idx="7">
                  <c:v>ČR</c:v>
                </c:pt>
                <c:pt idx="8">
                  <c:v>MSK</c:v>
                </c:pt>
                <c:pt idx="9">
                  <c:v>PAK</c:v>
                </c:pt>
                <c:pt idx="10">
                  <c:v>OLK</c:v>
                </c:pt>
                <c:pt idx="11">
                  <c:v>ULK</c:v>
                </c:pt>
                <c:pt idx="12">
                  <c:v>JHC</c:v>
                </c:pt>
                <c:pt idx="13">
                  <c:v>ZLK</c:v>
                </c:pt>
                <c:pt idx="14">
                  <c:v>VYS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159.84</c:v>
                </c:pt>
                <c:pt idx="1">
                  <c:v>184.72</c:v>
                </c:pt>
                <c:pt idx="2">
                  <c:v>295.98</c:v>
                </c:pt>
                <c:pt idx="3">
                  <c:v>346.98</c:v>
                </c:pt>
                <c:pt idx="4">
                  <c:v>404.44</c:v>
                </c:pt>
                <c:pt idx="5">
                  <c:v>437.02</c:v>
                </c:pt>
                <c:pt idx="6">
                  <c:v>443.54</c:v>
                </c:pt>
                <c:pt idx="7">
                  <c:v>457.72</c:v>
                </c:pt>
                <c:pt idx="8">
                  <c:v>519.77</c:v>
                </c:pt>
                <c:pt idx="9">
                  <c:v>522.13</c:v>
                </c:pt>
                <c:pt idx="10">
                  <c:v>567.87</c:v>
                </c:pt>
                <c:pt idx="11">
                  <c:v>583.22</c:v>
                </c:pt>
                <c:pt idx="12">
                  <c:v>611.26</c:v>
                </c:pt>
                <c:pt idx="13">
                  <c:v>631.36</c:v>
                </c:pt>
                <c:pt idx="14">
                  <c:v>635.33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689-4284-9BB7-72C56D0238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Jihomoravs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053.3273965159699</c:v>
                </c:pt>
                <c:pt idx="1">
                  <c:v>1172.8302097711</c:v>
                </c:pt>
                <c:pt idx="2">
                  <c:v>817.26188943533202</c:v>
                </c:pt>
                <c:pt idx="3">
                  <c:v>1196.6405388780199</c:v>
                </c:pt>
                <c:pt idx="4">
                  <c:v>894.59902059286503</c:v>
                </c:pt>
                <c:pt idx="5">
                  <c:v>1081.0045497855201</c:v>
                </c:pt>
                <c:pt idx="6">
                  <c:v>795.80921569395002</c:v>
                </c:pt>
                <c:pt idx="7">
                  <c:v>898.05075566636299</c:v>
                </c:pt>
                <c:pt idx="8">
                  <c:v>1071.9195834929701</c:v>
                </c:pt>
                <c:pt idx="9">
                  <c:v>836.08154102093204</c:v>
                </c:pt>
                <c:pt idx="10">
                  <c:v>996.93821784208205</c:v>
                </c:pt>
                <c:pt idx="11">
                  <c:v>736.93041561546397</c:v>
                </c:pt>
                <c:pt idx="12">
                  <c:v>854.72258810406504</c:v>
                </c:pt>
                <c:pt idx="13">
                  <c:v>571.19861070575905</c:v>
                </c:pt>
                <c:pt idx="14">
                  <c:v>337.3333695327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Jihomoravs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794.80123103961603</c:v>
                </c:pt>
                <c:pt idx="1">
                  <c:v>808.12566082321598</c:v>
                </c:pt>
                <c:pt idx="2">
                  <c:v>722.67854537339804</c:v>
                </c:pt>
                <c:pt idx="3">
                  <c:v>806.48992344375199</c:v>
                </c:pt>
                <c:pt idx="4">
                  <c:v>695.23666368677902</c:v>
                </c:pt>
                <c:pt idx="5">
                  <c:v>762.82568849466702</c:v>
                </c:pt>
                <c:pt idx="6">
                  <c:v>625.13587646881899</c:v>
                </c:pt>
                <c:pt idx="7">
                  <c:v>625.16720920139903</c:v>
                </c:pt>
                <c:pt idx="8">
                  <c:v>676.82390858482199</c:v>
                </c:pt>
                <c:pt idx="9">
                  <c:v>612.08618535909295</c:v>
                </c:pt>
                <c:pt idx="10">
                  <c:v>619.07054949640496</c:v>
                </c:pt>
                <c:pt idx="11">
                  <c:v>495.28912757678302</c:v>
                </c:pt>
                <c:pt idx="12">
                  <c:v>484.82875882142503</c:v>
                </c:pt>
                <c:pt idx="13">
                  <c:v>327.02072158463602</c:v>
                </c:pt>
                <c:pt idx="14">
                  <c:v>219.57212282463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4010B7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Jihomoravs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654.16142781764995</c:v>
                </c:pt>
                <c:pt idx="1">
                  <c:v>617.93278195512005</c:v>
                </c:pt>
                <c:pt idx="2">
                  <c:v>601.65992910540604</c:v>
                </c:pt>
                <c:pt idx="3">
                  <c:v>621.46376520314504</c:v>
                </c:pt>
                <c:pt idx="4">
                  <c:v>553.94254883191002</c:v>
                </c:pt>
                <c:pt idx="5">
                  <c:v>568.43619777217305</c:v>
                </c:pt>
                <c:pt idx="6">
                  <c:v>532.67740573192498</c:v>
                </c:pt>
                <c:pt idx="7">
                  <c:v>472.62285674156101</c:v>
                </c:pt>
                <c:pt idx="8">
                  <c:v>476.008023620095</c:v>
                </c:pt>
                <c:pt idx="9">
                  <c:v>433.64494135432398</c:v>
                </c:pt>
                <c:pt idx="10">
                  <c:v>437.86156066422097</c:v>
                </c:pt>
                <c:pt idx="11">
                  <c:v>366.16206428111298</c:v>
                </c:pt>
                <c:pt idx="12">
                  <c:v>312.08732342316199</c:v>
                </c:pt>
                <c:pt idx="13">
                  <c:v>211.91087778959999</c:v>
                </c:pt>
                <c:pt idx="14">
                  <c:v>154.41316211006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Jihomoravs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637.68479815147896</c:v>
                </c:pt>
                <c:pt idx="1">
                  <c:v>632.68243378570696</c:v>
                </c:pt>
                <c:pt idx="2">
                  <c:v>614.87756520843504</c:v>
                </c:pt>
                <c:pt idx="3">
                  <c:v>608.06489923443701</c:v>
                </c:pt>
                <c:pt idx="4">
                  <c:v>597.45417434712704</c:v>
                </c:pt>
                <c:pt idx="5">
                  <c:v>569.58416720557398</c:v>
                </c:pt>
                <c:pt idx="6">
                  <c:v>541.006997690204</c:v>
                </c:pt>
                <c:pt idx="7">
                  <c:v>474.42761736344198</c:v>
                </c:pt>
                <c:pt idx="8">
                  <c:v>468.11963307714802</c:v>
                </c:pt>
                <c:pt idx="9">
                  <c:v>453.69546195476602</c:v>
                </c:pt>
                <c:pt idx="10">
                  <c:v>425.44405226615902</c:v>
                </c:pt>
                <c:pt idx="11">
                  <c:v>353.777948269131</c:v>
                </c:pt>
                <c:pt idx="12">
                  <c:v>318.69862467981801</c:v>
                </c:pt>
                <c:pt idx="13">
                  <c:v>195.23354609016201</c:v>
                </c:pt>
                <c:pt idx="14">
                  <c:v>160.86118426410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6C-4A96-9749-250182F318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Jihomoravský kraj</c:v>
                </c:pt>
                <c:pt idx="10">
                  <c:v>Středočeský kraj</c:v>
                </c:pt>
                <c:pt idx="11">
                  <c:v>Hlavní město Praha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37.68479815147896</c:v>
                </c:pt>
                <c:pt idx="1">
                  <c:v>632.68243378570696</c:v>
                </c:pt>
                <c:pt idx="2">
                  <c:v>614.87756520843504</c:v>
                </c:pt>
                <c:pt idx="3">
                  <c:v>608.06489923443701</c:v>
                </c:pt>
                <c:pt idx="4">
                  <c:v>597.45417434712704</c:v>
                </c:pt>
                <c:pt idx="5">
                  <c:v>569.58416720557398</c:v>
                </c:pt>
                <c:pt idx="6">
                  <c:v>541.006997690204</c:v>
                </c:pt>
                <c:pt idx="7">
                  <c:v>474.42761736344198</c:v>
                </c:pt>
                <c:pt idx="8">
                  <c:v>468.11963307714802</c:v>
                </c:pt>
                <c:pt idx="9">
                  <c:v>453.69546195476602</c:v>
                </c:pt>
                <c:pt idx="10">
                  <c:v>425.44405226615902</c:v>
                </c:pt>
                <c:pt idx="11">
                  <c:v>353.777948269131</c:v>
                </c:pt>
                <c:pt idx="12">
                  <c:v>318.69862467981801</c:v>
                </c:pt>
                <c:pt idx="13">
                  <c:v>195.23354609016201</c:v>
                </c:pt>
                <c:pt idx="14">
                  <c:v>160.86118426410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272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9429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48648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0343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4966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11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svg"/><Relationship Id="rId5" Type="http://schemas.openxmlformats.org/officeDocument/2006/relationships/image" Target="../media/image14.png"/><Relationship Id="rId4" Type="http://schemas.openxmlformats.org/officeDocument/2006/relationships/image" Target="../media/image12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svg"/><Relationship Id="rId5" Type="http://schemas.openxmlformats.org/officeDocument/2006/relationships/image" Target="../media/image14.png"/><Relationship Id="rId4" Type="http://schemas.openxmlformats.org/officeDocument/2006/relationships/image" Target="../media/image12.sv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14.png"/><Relationship Id="rId4" Type="http://schemas.openxmlformats.org/officeDocument/2006/relationships/image" Target="../media/image8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50.svg"/><Relationship Id="rId4" Type="http://schemas.openxmlformats.org/officeDocument/2006/relationships/image" Target="../media/image1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50.svg"/><Relationship Id="rId4" Type="http://schemas.openxmlformats.org/officeDocument/2006/relationships/image" Target="../media/image16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50.svg"/><Relationship Id="rId4" Type="http://schemas.openxmlformats.org/officeDocument/2006/relationships/image" Target="../media/image1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50.svg"/><Relationship Id="rId4" Type="http://schemas.openxmlformats.org/officeDocument/2006/relationships/image" Target="../media/image16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0.svg"/><Relationship Id="rId5" Type="http://schemas.openxmlformats.org/officeDocument/2006/relationships/image" Target="../media/image14.png"/><Relationship Id="rId4" Type="http://schemas.openxmlformats.org/officeDocument/2006/relationships/image" Target="../media/image8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1.04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2301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4999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2405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28117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5126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1572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53354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34734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84672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28599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83611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7171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3897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39872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27766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176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9323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47270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9821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17677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33627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6925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711699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01730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7567905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0111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27404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3616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0715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7016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290871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18208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8870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4435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526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68679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596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78680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270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54735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36248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81043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683637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08921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437673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4372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55388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2783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03246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5383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9107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5591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6578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9176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007510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161452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65291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07288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7202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1.04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50.sv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8.sv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4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422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9831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16554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4204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8290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764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2613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1" r:id="rId10"/>
    <p:sldLayoutId id="214748414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821679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21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25.png"/><Relationship Id="rId2" Type="http://schemas.openxmlformats.org/officeDocument/2006/relationships/tags" Target="../tags/tag10.xml"/><Relationship Id="rId16" Type="http://schemas.openxmlformats.org/officeDocument/2006/relationships/image" Target="../media/image24.pn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23.png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26.png"/><Relationship Id="rId5" Type="http://schemas.openxmlformats.org/officeDocument/2006/relationships/tags" Target="../tags/tag26.xml"/><Relationship Id="rId10" Type="http://schemas.openxmlformats.org/officeDocument/2006/relationships/slideLayout" Target="../slideLayouts/slideLayout35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image" Target="../media/image27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slideLayout" Target="../slideLayouts/slideLayout35.xml"/><Relationship Id="rId5" Type="http://schemas.openxmlformats.org/officeDocument/2006/relationships/tags" Target="../tags/tag3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slideLayout" Target="../slideLayouts/slideLayout6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chart" Target="../charts/chart9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chart" Target="../charts/char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slideLayout" Target="../slideLayouts/slideLayout68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chart" Target="../charts/chart11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chart" Target="../charts/char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2" Type="http://schemas.openxmlformats.org/officeDocument/2006/relationships/tags" Target="../tags/tag66.xml"/><Relationship Id="rId16" Type="http://schemas.openxmlformats.org/officeDocument/2006/relationships/chart" Target="../charts/chart13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chart" Target="../charts/chart12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slideLayout" Target="../slideLayouts/slideLayout68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chart" Target="../charts/chart15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chart" Target="../charts/chart1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29.jp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28.gif"/><Relationship Id="rId5" Type="http://schemas.openxmlformats.org/officeDocument/2006/relationships/tags" Target="../tags/tag94.xml"/><Relationship Id="rId10" Type="http://schemas.openxmlformats.org/officeDocument/2006/relationships/chart" Target="../charts/chart16.xml"/><Relationship Id="rId4" Type="http://schemas.openxmlformats.org/officeDocument/2006/relationships/tags" Target="../tags/tag93.xml"/><Relationship Id="rId9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4" Type="http://schemas.openxmlformats.org/officeDocument/2006/relationships/chart" Target="../charts/char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chart" Target="../charts/chart19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chart" Target="../charts/chart20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4" Type="http://schemas.openxmlformats.org/officeDocument/2006/relationships/notesSlide" Target="../notesSlides/notesSlide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8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21. </a:t>
            </a:r>
            <a:r>
              <a:rPr lang="cs-CZ" sz="4800" b="1" dirty="0"/>
              <a:t>4. 2021</a:t>
            </a:r>
          </a:p>
          <a:p>
            <a:r>
              <a:rPr lang="cs-CZ" sz="4800" b="1" dirty="0"/>
              <a:t>– stručný přehled aktuálních dat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45938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509040" y="4183455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509040" y="4492181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509040" y="4800907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509040" y="5109633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509040" y="5418359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/>
        </p:nvSpPr>
        <p:spPr>
          <a:xfrm>
            <a:off x="10748797" y="4088789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/>
        </p:nvSpPr>
        <p:spPr>
          <a:xfrm>
            <a:off x="10748797" y="440007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/>
        </p:nvSpPr>
        <p:spPr>
          <a:xfrm>
            <a:off x="10748797" y="471136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/>
        </p:nvSpPr>
        <p:spPr>
          <a:xfrm>
            <a:off x="10748797" y="5022659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/>
        </p:nvSpPr>
        <p:spPr>
          <a:xfrm>
            <a:off x="10748797" y="5333949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 1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509040" y="5727084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509040" y="6035808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/>
        </p:nvSpPr>
        <p:spPr>
          <a:xfrm>
            <a:off x="10748797" y="5645239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/>
        </p:nvSpPr>
        <p:spPr>
          <a:xfrm>
            <a:off x="10748797" y="595653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9">
            <a:extLst>
              <a:ext uri="{FF2B5EF4-FFF2-40B4-BE49-F238E27FC236}">
                <a16:creationId xmlns:a16="http://schemas.microsoft.com/office/drawing/2014/main" id="{41BD496B-B1DB-4783-B62F-771740941BE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384" y="65457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5B3EE2D7-EB23-4DEE-83CA-8A4E8E8A252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4" r="5697"/>
          <a:stretch/>
        </p:blipFill>
        <p:spPr>
          <a:xfrm>
            <a:off x="178264" y="1054687"/>
            <a:ext cx="3590109" cy="2219277"/>
          </a:xfrm>
          <a:prstGeom prst="rect">
            <a:avLst/>
          </a:prstGeom>
        </p:spPr>
      </p:pic>
      <p:sp>
        <p:nvSpPr>
          <p:cNvPr id="27" name="TextBox 29">
            <a:extLst>
              <a:ext uri="{FF2B5EF4-FFF2-40B4-BE49-F238E27FC236}">
                <a16:creationId xmlns:a16="http://schemas.microsoft.com/office/drawing/2014/main" id="{8D218328-959B-4FCE-9A2C-25A0B5849BB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808047" y="74780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25" name="Picture 24" descr="Map&#10;&#10;Description automatically generated">
            <a:extLst>
              <a:ext uri="{FF2B5EF4-FFF2-40B4-BE49-F238E27FC236}">
                <a16:creationId xmlns:a16="http://schemas.microsoft.com/office/drawing/2014/main" id="{65D8BFE4-97FB-4DDA-BC75-CD26CCB79C3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7" r="7615"/>
          <a:stretch/>
        </p:blipFill>
        <p:spPr>
          <a:xfrm>
            <a:off x="3999790" y="1128105"/>
            <a:ext cx="3484517" cy="2160000"/>
          </a:xfrm>
          <a:prstGeom prst="rect">
            <a:avLst/>
          </a:prstGeom>
        </p:spPr>
      </p:pic>
      <p:pic>
        <p:nvPicPr>
          <p:cNvPr id="31" name="Picture 12" descr="Map&#10;&#10;Description automatically generated">
            <a:extLst>
              <a:ext uri="{FF2B5EF4-FFF2-40B4-BE49-F238E27FC236}">
                <a16:creationId xmlns:a16="http://schemas.microsoft.com/office/drawing/2014/main" id="{078D1790-2A55-4D35-B2A3-6D377DE5208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0" r="7941"/>
          <a:stretch/>
        </p:blipFill>
        <p:spPr>
          <a:xfrm>
            <a:off x="8228820" y="1054687"/>
            <a:ext cx="3435848" cy="2162627"/>
          </a:xfrm>
          <a:prstGeom prst="rect">
            <a:avLst/>
          </a:prstGeom>
        </p:spPr>
      </p:pic>
      <p:sp>
        <p:nvSpPr>
          <p:cNvPr id="32" name="TextBox 29">
            <a:extLst>
              <a:ext uri="{FF2B5EF4-FFF2-40B4-BE49-F238E27FC236}">
                <a16:creationId xmlns:a16="http://schemas.microsoft.com/office/drawing/2014/main" id="{8D218328-959B-4FCE-9A2C-25A0B5849BB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68143" y="83043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3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78264" y="3787403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4.2021</a:t>
            </a:r>
          </a:p>
        </p:txBody>
      </p:sp>
      <p:pic>
        <p:nvPicPr>
          <p:cNvPr id="34" name="Picture 22" descr="Map&#10;&#10;Description automatically generated">
            <a:extLst>
              <a:ext uri="{FF2B5EF4-FFF2-40B4-BE49-F238E27FC236}">
                <a16:creationId xmlns:a16="http://schemas.microsoft.com/office/drawing/2014/main" id="{59F91F5F-D4A7-4015-B59E-05E709843C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51" r="20071"/>
          <a:stretch/>
        </p:blipFill>
        <p:spPr>
          <a:xfrm>
            <a:off x="178264" y="4288428"/>
            <a:ext cx="3440883" cy="2160000"/>
          </a:xfrm>
          <a:prstGeom prst="rect">
            <a:avLst/>
          </a:prstGeom>
        </p:spPr>
      </p:pic>
      <p:sp>
        <p:nvSpPr>
          <p:cNvPr id="30" name="TextovéPole 29"/>
          <p:cNvSpPr txBox="1"/>
          <p:nvPr/>
        </p:nvSpPr>
        <p:spPr>
          <a:xfrm>
            <a:off x="7416913" y="3787403"/>
            <a:ext cx="29173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ižování populační zátěže </a:t>
            </a:r>
            <a:r>
              <a:rPr kumimoji="0" lang="cs-CZ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ačovalo </a:t>
            </a:r>
            <a:r>
              <a:rPr kumimoji="0" lang="cs-CZ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o Velikonocích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8784B7AD-0153-4E97-80CE-C680F3711F1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129751" y="3787403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4DE4DCDB-B9B8-4310-85BF-6838D9FD49EB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2" r="9486"/>
          <a:stretch/>
        </p:blipFill>
        <p:spPr>
          <a:xfrm>
            <a:off x="3678904" y="4253949"/>
            <a:ext cx="3427986" cy="2160000"/>
          </a:xfrm>
          <a:prstGeom prst="rect">
            <a:avLst/>
          </a:prstGeom>
        </p:spPr>
      </p:pic>
      <p:sp>
        <p:nvSpPr>
          <p:cNvPr id="2" name="Šipka doprava 1"/>
          <p:cNvSpPr/>
          <p:nvPr>
            <p:custDataLst>
              <p:tags r:id="rId11"/>
            </p:custDataLst>
          </p:nvPr>
        </p:nvSpPr>
        <p:spPr>
          <a:xfrm rot="10800000">
            <a:off x="6737849" y="3699986"/>
            <a:ext cx="572655" cy="9261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35755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 smtClean="0"/>
              <a:t>Zátěž regionů ve vzájemném srovnání </a:t>
            </a:r>
            <a:endParaRPr lang="cs-CZ" dirty="0"/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D547B5C3-9C9D-4646-9142-57CBE7A9C7A2}"/>
              </a:ext>
            </a:extLst>
          </p:cNvPr>
          <p:cNvSpPr/>
          <p:nvPr/>
        </p:nvSpPr>
        <p:spPr>
          <a:xfrm>
            <a:off x="230690" y="6398293"/>
            <a:ext cx="11961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988292" y="748581"/>
            <a:ext cx="102593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 smtClean="0"/>
              <a:t>Mezi regiony stále existují významné rozdíly, které stále odpovídají gradientu rostoucího rizika „západ -&gt; východ“ země. Pod mezinárodně používanou hranici 100 nových případů na  100 tis. obyvatel dlouhodobě klesly hodnoty </a:t>
            </a:r>
          </a:p>
          <a:p>
            <a:pPr algn="ctr"/>
            <a:r>
              <a:rPr lang="cs-CZ" sz="2000" b="1" dirty="0" smtClean="0"/>
              <a:t>v Karlovarském a Královéhradeckém kraji. </a:t>
            </a:r>
            <a:endParaRPr lang="cs-CZ" sz="2000" b="1" dirty="0"/>
          </a:p>
        </p:txBody>
      </p:sp>
      <p:sp>
        <p:nvSpPr>
          <p:cNvPr id="2" name="Šipka dolů 1"/>
          <p:cNvSpPr/>
          <p:nvPr/>
        </p:nvSpPr>
        <p:spPr>
          <a:xfrm rot="2991386">
            <a:off x="3962401" y="2343441"/>
            <a:ext cx="831273" cy="57265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Šipka dolů 13"/>
          <p:cNvSpPr/>
          <p:nvPr/>
        </p:nvSpPr>
        <p:spPr>
          <a:xfrm rot="18513336">
            <a:off x="7763361" y="2342275"/>
            <a:ext cx="831273" cy="572654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6827568" y="3196746"/>
            <a:ext cx="46095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4denní počty pozitivních na COVID-19 ve věku 65+ </a:t>
            </a:r>
          </a:p>
          <a:p>
            <a:pPr algn="ctr"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(na 100 000 obyvatel 65+)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1198233" y="3196746"/>
            <a:ext cx="44311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l-PL" sz="1400" b="1" dirty="0">
                <a:solidFill>
                  <a:srgbClr val="000000"/>
                </a:solidFill>
                <a:latin typeface="Arial" panose="020B0604020202020204"/>
              </a:rPr>
              <a:t>14denní počty pozitivních na COVID-19 </a:t>
            </a:r>
          </a:p>
          <a:p>
            <a:pPr algn="ctr">
              <a:defRPr/>
            </a:pPr>
            <a:r>
              <a:rPr lang="pl-PL" sz="1400" b="1" dirty="0">
                <a:solidFill>
                  <a:srgbClr val="000000"/>
                </a:solidFill>
                <a:latin typeface="Arial" panose="020B0604020202020204"/>
              </a:rPr>
              <a:t>(na 100 000 obyvatel)</a:t>
            </a:r>
          </a:p>
        </p:txBody>
      </p:sp>
      <p:graphicFrame>
        <p:nvGraphicFramePr>
          <p:cNvPr id="16" name="Chart 25">
            <a:extLst>
              <a:ext uri="{FF2B5EF4-FFF2-40B4-BE49-F238E27FC236}">
                <a16:creationId xmlns:a16="http://schemas.microsoft.com/office/drawing/2014/main" id="{9E443E8B-5A61-43CD-B5EB-DB412E27F19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549928"/>
              </p:ext>
            </p:extLst>
          </p:nvPr>
        </p:nvGraphicFramePr>
        <p:xfrm>
          <a:off x="6032508" y="3577272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Chart 28">
            <a:extLst>
              <a:ext uri="{FF2B5EF4-FFF2-40B4-BE49-F238E27FC236}">
                <a16:creationId xmlns:a16="http://schemas.microsoft.com/office/drawing/2014/main" id="{72532355-F2FD-45A1-BC03-25AEA9752B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36069"/>
              </p:ext>
            </p:extLst>
          </p:nvPr>
        </p:nvGraphicFramePr>
        <p:xfrm>
          <a:off x="381739" y="3577272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333614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F419A08E-E94D-4A6D-A5FE-AF9226C7205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0" r="9192"/>
          <a:stretch/>
        </p:blipFill>
        <p:spPr>
          <a:xfrm>
            <a:off x="155250" y="1409428"/>
            <a:ext cx="8085357" cy="5040000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sp>
        <p:nvSpPr>
          <p:cNvPr id="33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9211" y="90223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2C22A64-9086-4559-88FB-03C263DDA9C9}"/>
              </a:ext>
            </a:extLst>
          </p:cNvPr>
          <p:cNvSpPr/>
          <p:nvPr/>
        </p:nvSpPr>
        <p:spPr>
          <a:xfrm>
            <a:off x="8337340" y="2440380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99E6E6-107B-4ADD-A788-7098EF4411D1}"/>
              </a:ext>
            </a:extLst>
          </p:cNvPr>
          <p:cNvSpPr/>
          <p:nvPr/>
        </p:nvSpPr>
        <p:spPr>
          <a:xfrm>
            <a:off x="8337340" y="2749106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1F25D43-E695-4FB8-9787-0A2FEF8D05FA}"/>
              </a:ext>
            </a:extLst>
          </p:cNvPr>
          <p:cNvSpPr/>
          <p:nvPr/>
        </p:nvSpPr>
        <p:spPr>
          <a:xfrm>
            <a:off x="8337340" y="3057832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C78911-6AB7-4C49-BEB7-1045E130A55E}"/>
              </a:ext>
            </a:extLst>
          </p:cNvPr>
          <p:cNvSpPr/>
          <p:nvPr/>
        </p:nvSpPr>
        <p:spPr>
          <a:xfrm>
            <a:off x="8337340" y="3366558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9AF2BC5-BC96-4331-AFB6-6E2D5E47B2B8}"/>
              </a:ext>
            </a:extLst>
          </p:cNvPr>
          <p:cNvSpPr/>
          <p:nvPr/>
        </p:nvSpPr>
        <p:spPr>
          <a:xfrm>
            <a:off x="8337340" y="3675284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75481F8-95EC-406B-AC1B-7FAAEADFF5D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577097" y="23457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5874DA-B216-426E-B437-D8BB204B0F7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77097" y="265700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C41FD4-DE9C-4584-BD0C-E3E2FBB42D6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77097" y="296829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F2E40E-DD94-43A7-B4A8-DFDDDDCBAFB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7097" y="327958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31944F2-F7AB-4E7D-8C26-00AEF2207EC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77097" y="359087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EA88519-738C-496B-A5C4-F33EA96BF8FF}"/>
              </a:ext>
            </a:extLst>
          </p:cNvPr>
          <p:cNvSpPr/>
          <p:nvPr/>
        </p:nvSpPr>
        <p:spPr>
          <a:xfrm>
            <a:off x="8337340" y="3984009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368DD5-6089-4C93-9F93-D0AAA1FCE2FE}"/>
              </a:ext>
            </a:extLst>
          </p:cNvPr>
          <p:cNvSpPr/>
          <p:nvPr/>
        </p:nvSpPr>
        <p:spPr>
          <a:xfrm>
            <a:off x="8337340" y="4292733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EB18BD-0AE1-4B7F-B8B0-0D86AD9FCC8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577097" y="390216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BFCD802-5646-4783-A39E-3662FF2F9AA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577097" y="4213456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421443" y="848055"/>
            <a:ext cx="50153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 smtClean="0"/>
              <a:t>Nová číselná škála: kraje KVK a KHK již klesly pod hranici 100 nových případů za týden na 100 tis. obyvatel </a:t>
            </a:r>
            <a:endParaRPr 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39910669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2F6A48E1-025A-44A1-985D-314D25F4106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7" r="8824"/>
          <a:stretch/>
        </p:blipFill>
        <p:spPr>
          <a:xfrm>
            <a:off x="15438" y="1551441"/>
            <a:ext cx="8168923" cy="5040000"/>
          </a:xfrm>
          <a:prstGeom prst="rect">
            <a:avLst/>
          </a:prstGeom>
        </p:spPr>
      </p:pic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8337340" y="2440380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8337340" y="2749106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8337340" y="3057832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8337340" y="3366558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8337340" y="3675284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577097" y="2345714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77097" y="265700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77097" y="296829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7097" y="327958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77097" y="359087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8337340" y="3984009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8337340" y="4292733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577097" y="3902164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577097" y="4213456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90223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.4.2021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421443" y="848055"/>
            <a:ext cx="50153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 smtClean="0"/>
              <a:t>Nová číselná škála: kraje KVK a KHK již klesly pod hranici 100 nových případů za týden na 100 tis. obyvatel </a:t>
            </a:r>
            <a:endParaRPr 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26255687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 lnSpcReduction="10000"/>
          </a:bodyPr>
          <a:lstStyle/>
          <a:p>
            <a:r>
              <a:rPr lang="cs-CZ" sz="4800" b="1" dirty="0" smtClean="0"/>
              <a:t>Sledování vývoje epidemie na regionální </a:t>
            </a:r>
          </a:p>
          <a:p>
            <a:r>
              <a:rPr lang="cs-CZ" sz="4800" b="1" dirty="0" smtClean="0"/>
              <a:t>a okresní úrovni</a:t>
            </a:r>
          </a:p>
          <a:p>
            <a:r>
              <a:rPr lang="cs-CZ" sz="4800" b="1" i="1" dirty="0" smtClean="0"/>
              <a:t>Identifikace rizikových trendů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2810630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389727" y="1739629"/>
            <a:ext cx="11368377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 smtClean="0"/>
              <a:t>Nejnižších hodnot dosahuje incidence v krajích KVK, KHK a PLK – zde již hodnoty začaly klesat pod hranici 100/100 tis. obyvatel za týden. Naopak nejvíce zatížené jsou kraje Ústecký, Jihočeský a kraje východní části země. </a:t>
            </a:r>
            <a:endParaRPr lang="cs-CZ" sz="3200" b="1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000" b="1" dirty="0" smtClean="0">
              <a:solidFill>
                <a:srgbClr val="FF0000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000" b="1" dirty="0" smtClean="0">
                <a:solidFill>
                  <a:srgbClr val="FF0000"/>
                </a:solidFill>
                <a:latin typeface="Calibri" panose="020F0502020204030204"/>
              </a:rPr>
              <a:t>Situace stále není bez rizika, v ČR stále probíhá komunitní šíření viru. Týdenní počty potvrzených případů jsou 2x až 3x vyšší než bezpečná hranice. Pozitivem nicméně je, že epidemie zpomaluje ve všech regionech. </a:t>
            </a:r>
            <a:endParaRPr lang="cs-CZ" sz="3000" b="1" u="sng" dirty="0" smtClean="0">
              <a:solidFill>
                <a:srgbClr val="FF0000"/>
              </a:solidFill>
              <a:latin typeface="Calibri" panose="020F0502020204030204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35426" y="129697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516080" y="116631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klesá ve všech regionech,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šak</a:t>
            </a: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velkými rozdíly mezi nimi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35425" y="392484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75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926542"/>
            <a:ext cx="12192000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14 dní na 100 000 obyvatel: srovnání krajů k 19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455810" y="1253263"/>
          <a:ext cx="528484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1824" y="1253263"/>
          <a:ext cx="528484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" name="TextovéPole 1"/>
          <p:cNvSpPr txBox="1"/>
          <p:nvPr/>
        </p:nvSpPr>
        <p:spPr>
          <a:xfrm>
            <a:off x="9836727" y="4879071"/>
            <a:ext cx="223092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y viditelně klesají ve všech krajích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11808" y="94548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150432" y="945486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90990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395368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4.202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2952A04-F72D-414D-BE69-BCD8892CA7F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534858" y="945486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91E93D-4A26-46BB-A19D-DBD41A36775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714040" y="88159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757294" y="938958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936476" y="875069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4.2021</a:t>
            </a:r>
          </a:p>
        </p:txBody>
      </p:sp>
    </p:spTree>
    <p:extLst>
      <p:ext uri="{BB962C8B-B14F-4D97-AF65-F5344CB8AC3E}">
        <p14:creationId xmlns:p14="http://schemas.microsoft.com/office/powerpoint/2010/main" val="11484862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3594847"/>
            <a:ext cx="12192000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5" y="1"/>
            <a:ext cx="11741567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R (zjednodušený výpočet) - 7 denní úseky: srovnání krajů k 19.4.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6176242" y="1253263"/>
          <a:ext cx="528484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358147" y="1253263"/>
          <a:ext cx="528484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A2921417-D574-4A02-9669-D922C5DE016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11808" y="94548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32A2B59-B647-4459-AFBE-D6D5F306E9E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150432" y="945486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DAB978-8250-49B1-9777-18EAD3548BF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590990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B8BACB-0894-4270-B590-71FDB4526F6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395368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4.202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496C98-146A-4005-B879-EA675B2E12D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534858" y="945486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AA476A5-2AD4-4C5B-B4B1-73C30A5B3A9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714040" y="88159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74781AE-3050-44F3-A326-2E01AF69C32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757294" y="938958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D783604-8AE3-4A28-BB3E-FA078A53D7A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936476" y="875069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4.2021</a:t>
            </a:r>
          </a:p>
        </p:txBody>
      </p:sp>
      <p:cxnSp>
        <p:nvCxnSpPr>
          <p:cNvPr id="3" name="Přímá spojnice 2"/>
          <p:cNvCxnSpPr/>
          <p:nvPr/>
        </p:nvCxnSpPr>
        <p:spPr>
          <a:xfrm>
            <a:off x="10656848" y="1511501"/>
            <a:ext cx="0" cy="52277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44226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77585" y="2771954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kto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 ve zvýšeném riziku k 1.4. 2021 pohybovalo cca 10 okres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také celý kraj Zlín, kde byly prorůstové charakteristiky epidemie naměřeny v okresech Zlín a Kroměříž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6416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ně jsou sledovány</a:t>
            </a:r>
            <a:r>
              <a:rPr kumimoji="0" lang="cs-CZ" sz="3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giony a okresy, u kterých jsou epidemické ukazatele v rizikové úrovni a u kterých epidemie vykazuje tendenci populačně narůstat 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82475" y="199773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9" y="47469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194458" y="5324633"/>
            <a:ext cx="115614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novější data potvrzují ve všech těchto oblastech postupný pokles zátěže a začínající ústup epidemie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805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6382871"/>
            <a:ext cx="12192000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7 dní na 100 000 obyvatel: 15 okresů s nejvyššími hodnotami k 19.4.</a:t>
            </a:r>
            <a:endParaRPr lang="cs-CZ" sz="2000" dirty="0">
              <a:latin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5C97793-062D-4757-9002-5D3EDD94FF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11808" y="94548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F22DBF-503E-475F-ABB6-4F1719925E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150432" y="945486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A3AFA35-8D74-49DD-A9AE-F1136BCFB91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90990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4.202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5102B32-248C-4CF9-B0E8-ACCEB4FFFA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95368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4.2021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5633317" y="1253263"/>
          <a:ext cx="528484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C708B705-FA31-423A-B652-0980AE4BADB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534858" y="945486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13FE053-56B7-48EF-A37F-8CBC7B0054A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714040" y="88159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.4.2021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358147" y="1253263"/>
          <a:ext cx="528484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2" name="TextovéPole 11"/>
          <p:cNvSpPr txBox="1"/>
          <p:nvPr>
            <p:custDataLst>
              <p:tags r:id="rId11"/>
            </p:custDataLst>
          </p:nvPr>
        </p:nvSpPr>
        <p:spPr>
          <a:xfrm>
            <a:off x="9961080" y="2204053"/>
            <a:ext cx="223092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 nejvíce zatížených okresů: hodnoty klesají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D26D50F-1CD2-45B7-893E-6CD6AA9A8DA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0757294" y="938958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531524-3CD6-4FEF-AEAB-DCE91B2A541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936476" y="875069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4.2021</a:t>
            </a:r>
          </a:p>
        </p:txBody>
      </p:sp>
    </p:spTree>
    <p:extLst>
      <p:ext uri="{BB962C8B-B14F-4D97-AF65-F5344CB8AC3E}">
        <p14:creationId xmlns:p14="http://schemas.microsoft.com/office/powerpoint/2010/main" val="2620347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0" y="1845479"/>
            <a:ext cx="11737832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3 000 denně.</a:t>
            </a:r>
            <a:r>
              <a:rPr kumimoji="0" lang="cs-CZ" sz="3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ále klesá </a:t>
            </a:r>
            <a:r>
              <a:rPr kumimoji="0" lang="cs-CZ" sz="3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testů (o cca 10% za poslední </a:t>
            </a:r>
            <a:r>
              <a:rPr kumimoji="0" lang="cs-CZ" sz="3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ýdny). </a:t>
            </a:r>
            <a:r>
              <a:rPr lang="cs-CZ" sz="3400" b="1" dirty="0" smtClean="0">
                <a:latin typeface="Calibri" panose="020F0502020204030204"/>
              </a:rPr>
              <a:t>Významný je i pokles nově nakažených potenciálně zranitelných skupin obyvatel.</a:t>
            </a:r>
            <a:endParaRPr kumimoji="0" lang="cs-CZ" sz="3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patrný u všech</a:t>
            </a:r>
            <a:r>
              <a:rPr kumimoji="0" lang="cs-CZ" sz="34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ěkových kategorií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  <a:r>
              <a:rPr kumimoji="0" lang="cs-CZ" sz="34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ní </a:t>
            </a:r>
            <a:r>
              <a:rPr kumimoji="0" lang="cs-CZ" sz="3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 počtu nakažených klesá </a:t>
            </a:r>
            <a:r>
              <a:rPr kumimoji="0" lang="cs-CZ" sz="34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e, hodnota reprodukčního čísla osciluje mezi 0,7 – 0,85. </a:t>
            </a:r>
            <a:endParaRPr kumimoji="0" lang="cs-CZ" sz="3400" b="1" i="0" u="none" strike="noStrike" kern="1200" cap="none" spc="0" normalizeH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1" i="0" u="none" strike="noStrike" kern="1200" cap="none" spc="0" normalizeH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zpomaluje, klesá počet</a:t>
            </a:r>
            <a:r>
              <a:rPr kumimoji="0" lang="cs-CZ" sz="4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ých případů onemocnění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88512" y="398191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088512" y="615529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6182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6382871"/>
            <a:ext cx="12192000" cy="475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14 dní na 100 000 obyvatel: 15 okresů s nejvyššími hodnotami k 19.4.</a:t>
            </a:r>
            <a:endParaRPr lang="cs-CZ" sz="2000" dirty="0">
              <a:latin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5C97793-062D-4757-9002-5D3EDD94FF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11808" y="945486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CF22DBF-503E-475F-ABB6-4F1719925E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150432" y="945486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A3AFA35-8D74-49DD-A9AE-F1136BCFB91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90990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4.202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5102B32-248C-4CF9-B0E8-ACCEB4FFFA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95368" y="88159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4.2021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5633317" y="1253263"/>
          <a:ext cx="528484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C708B705-FA31-423A-B652-0980AE4BADB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534858" y="945486"/>
            <a:ext cx="180000" cy="180000"/>
          </a:xfrm>
          <a:prstGeom prst="rect">
            <a:avLst/>
          </a:prstGeom>
          <a:solidFill>
            <a:srgbClr val="4010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13FE053-56B7-48EF-A37F-8CBC7B0054A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714040" y="881597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.4.2021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358147" y="1253263"/>
          <a:ext cx="528484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2" name="TextovéPole 11"/>
          <p:cNvSpPr txBox="1"/>
          <p:nvPr/>
        </p:nvSpPr>
        <p:spPr>
          <a:xfrm>
            <a:off x="9714040" y="4714171"/>
            <a:ext cx="223092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 nejvíce zatížených okresů: hodnoty klesají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D26D50F-1CD2-45B7-893E-6CD6AA9A8DA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0757294" y="938958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531524-3CD6-4FEF-AEAB-DCE91B2A541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936476" y="875069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.4.2021</a:t>
            </a:r>
          </a:p>
        </p:txBody>
      </p:sp>
    </p:spTree>
    <p:extLst>
      <p:ext uri="{BB962C8B-B14F-4D97-AF65-F5344CB8AC3E}">
        <p14:creationId xmlns:p14="http://schemas.microsoft.com/office/powerpoint/2010/main" val="14124627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7F7C1951-D37C-440D-9CB2-FD4E1160FE7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197157" y="1123117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3 - 15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3 - 22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3 - 29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3 - 5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4 - 12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4 - 19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9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4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ZLK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5E47396A-300A-47BC-A5A2-A0A901ACEAC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79060" y="721240"/>
            <a:ext cx="116089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ynamika vývoje počtů pozitivních diagnóz ukazuje na zpomalení šíření.</a:t>
            </a: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0BBE6A33-48F0-49E1-9234-59BBC97607D7}"/>
              </a:ext>
            </a:extLst>
          </p:cNvPr>
          <p:cNvSpPr/>
          <p:nvPr/>
        </p:nvSpPr>
        <p:spPr>
          <a:xfrm>
            <a:off x="1203450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C140FC7B-E4FD-4E67-92ED-DBF34CACB88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172865" y="2464775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595E001A-4FCA-4DDB-8C25-BFD9173BD47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16865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FEEB2FF7-BE27-405C-9A19-734E8CFD46B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086280" y="2464775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4F4AAAE2-F558-418C-BAA2-D0B97D253513}"/>
              </a:ext>
            </a:extLst>
          </p:cNvPr>
          <p:cNvSpPr/>
          <p:nvPr/>
        </p:nvSpPr>
        <p:spPr>
          <a:xfrm>
            <a:off x="9056914" y="2464775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944A33EE-8359-4881-95B8-54951F6A3B30}"/>
              </a:ext>
            </a:extLst>
          </p:cNvPr>
          <p:cNvGrpSpPr/>
          <p:nvPr/>
        </p:nvGrpSpPr>
        <p:grpSpPr>
          <a:xfrm>
            <a:off x="10590672" y="604640"/>
            <a:ext cx="1601328" cy="369333"/>
            <a:chOff x="12350220" y="6820895"/>
            <a:chExt cx="2317881" cy="534600"/>
          </a:xfrm>
        </p:grpSpPr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640671BB-CDEE-4330-88AA-05D61E46D2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18" name="Obrázek 17">
              <a:extLst>
                <a:ext uri="{FF2B5EF4-FFF2-40B4-BE49-F238E27FC236}">
                  <a16:creationId xmlns:a16="http://schemas.microsoft.com/office/drawing/2014/main" id="{7A3169E1-0A1C-4F0F-8A29-5AF98FA698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sp>
        <p:nvSpPr>
          <p:cNvPr id="14" name="TextovéPole 13"/>
          <p:cNvSpPr txBox="1"/>
          <p:nvPr/>
        </p:nvSpPr>
        <p:spPr>
          <a:xfrm>
            <a:off x="6647899" y="3394097"/>
            <a:ext cx="51389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K byl po 1.1. 2021 zasažen jako poslední z krajů. Situace je zde stabilní, epidemie neroste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26868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 smtClean="0"/>
              <a:t>Zátěž nemocnic klesá v důsledku klesajícího</a:t>
            </a:r>
          </a:p>
          <a:p>
            <a:r>
              <a:rPr lang="cs-CZ" sz="5000" b="1" dirty="0" smtClean="0"/>
              <a:t>počtu nákaz zranitelných pacientů </a:t>
            </a:r>
            <a:endParaRPr lang="cs-CZ" sz="5000" b="1" dirty="0"/>
          </a:p>
        </p:txBody>
      </p:sp>
    </p:spTree>
    <p:extLst>
      <p:ext uri="{BB962C8B-B14F-4D97-AF65-F5344CB8AC3E}">
        <p14:creationId xmlns:p14="http://schemas.microsoft.com/office/powerpoint/2010/main" val="2815245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ovéPole 20"/>
          <p:cNvSpPr txBox="1"/>
          <p:nvPr/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Vysoký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počet nově nakažených potenciálně zranitelných pacientů zvyšoval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zátěž nemocnic.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V posledním </a:t>
            </a:r>
            <a:r>
              <a:rPr kumimoji="0" lang="cs-CZ" sz="3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období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počty pacientů</a:t>
            </a:r>
            <a:r>
              <a:rPr kumimoji="0" lang="cs-CZ" sz="3000" b="1" i="0" u="sng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klesají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.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3C7B102-51CF-40DA-86E3-19AB93DE7FE7}"/>
              </a:ext>
            </a:extLst>
          </p:cNvPr>
          <p:cNvSpPr txBox="1"/>
          <p:nvPr/>
        </p:nvSpPr>
        <p:spPr>
          <a:xfrm>
            <a:off x="1896063" y="21387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35" name="Tabulka 3">
            <a:extLst>
              <a:ext uri="{FF2B5EF4-FFF2-40B4-BE49-F238E27FC236}">
                <a16:creationId xmlns:a16="http://schemas.microsoft.com/office/drawing/2014/main" id="{A3693099-23CE-4447-AC61-AFCE59524C7A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9034693"/>
              </p:ext>
            </p:extLst>
          </p:nvPr>
        </p:nvGraphicFramePr>
        <p:xfrm>
          <a:off x="4780229" y="1318755"/>
          <a:ext cx="6406083" cy="2186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270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23381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1" u="sng" dirty="0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é 3 dny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095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7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 90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14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219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2" name="Šipka doprava 1"/>
          <p:cNvSpPr/>
          <p:nvPr/>
        </p:nvSpPr>
        <p:spPr>
          <a:xfrm rot="1019874">
            <a:off x="11013483" y="5077031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08BC59A9-FEBF-48E7-BE01-130C7422F8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4929064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3139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</a:t>
            </a:r>
            <a:r>
              <a:rPr lang="en-US" dirty="0"/>
              <a:t> 65+</a:t>
            </a:r>
            <a:r>
              <a:rPr lang="cs-CZ" dirty="0"/>
              <a:t>: týdenní </a:t>
            </a:r>
            <a:r>
              <a:rPr lang="cs-CZ" dirty="0" smtClean="0"/>
              <a:t>vývoj</a:t>
            </a:r>
            <a:endParaRPr lang="cs-CZ" dirty="0"/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potvrzuje zpomalení 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1364154" flipV="1">
            <a:off x="10449539" y="4398815"/>
            <a:ext cx="1270004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8">
            <a:extLst>
              <a:ext uri="{FF2B5EF4-FFF2-40B4-BE49-F238E27FC236}">
                <a16:creationId xmlns:a16="http://schemas.microsoft.com/office/drawing/2014/main" id="{4B7574F6-7368-4B63-81DB-F6EAC02F30A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197157" y="1134143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3 - 13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3 - 20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3 - 27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3 - 3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4 - 10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4 - 17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8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9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0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6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02FE6BCD-B160-4DEB-82CC-D4CDD287F607}"/>
              </a:ext>
            </a:extLst>
          </p:cNvPr>
          <p:cNvSpPr/>
          <p:nvPr/>
        </p:nvSpPr>
        <p:spPr>
          <a:xfrm>
            <a:off x="120345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E87C39AF-5DBF-4112-A008-28FE61C7D806}"/>
              </a:ext>
            </a:extLst>
          </p:cNvPr>
          <p:cNvSpPr/>
          <p:nvPr/>
        </p:nvSpPr>
        <p:spPr>
          <a:xfrm>
            <a:off x="3172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9A04A270-7187-4E15-B7EC-383522621181}"/>
              </a:ext>
            </a:extLst>
          </p:cNvPr>
          <p:cNvSpPr/>
          <p:nvPr/>
        </p:nvSpPr>
        <p:spPr>
          <a:xfrm>
            <a:off x="5116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35647ED1-6EF9-4788-866E-E82C5C053706}"/>
              </a:ext>
            </a:extLst>
          </p:cNvPr>
          <p:cNvSpPr/>
          <p:nvPr/>
        </p:nvSpPr>
        <p:spPr>
          <a:xfrm>
            <a:off x="708628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BEB8EDC1-DE8F-4A9A-B5D7-4664DBC21F67}"/>
              </a:ext>
            </a:extLst>
          </p:cNvPr>
          <p:cNvSpPr/>
          <p:nvPr/>
        </p:nvSpPr>
        <p:spPr>
          <a:xfrm>
            <a:off x="9056914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2" name="Chart 4">
            <a:extLst>
              <a:ext uri="{FF2B5EF4-FFF2-40B4-BE49-F238E27FC236}">
                <a16:creationId xmlns:a16="http://schemas.microsoft.com/office/drawing/2014/main" id="{08BC59A9-FEBF-48E7-BE01-130C7422F8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6436945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296847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abulka 8">
            <a:extLst>
              <a:ext uri="{FF2B5EF4-FFF2-40B4-BE49-F238E27FC236}">
                <a16:creationId xmlns:a16="http://schemas.microsoft.com/office/drawing/2014/main" id="{19DAA002-E30C-4D5C-97E3-6E0CA7509E0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146287" y="715094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3 - 13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3 - 20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3 - 27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3 - 3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4 - 10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4 - 17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21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48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77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63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6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4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856548" y="4538022"/>
            <a:ext cx="2829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8581"/>
            <a:ext cx="1900937" cy="1908215"/>
            <a:chOff x="10258697" y="3527722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7722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poč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8" name="Zahnutá šipka nahoru 25">
            <a:extLst>
              <a:ext uri="{FF2B5EF4-FFF2-40B4-BE49-F238E27FC236}">
                <a16:creationId xmlns:a16="http://schemas.microsoft.com/office/drawing/2014/main" id="{E359B7D7-130C-4173-9EFC-47F321C82F4E}"/>
              </a:ext>
            </a:extLst>
          </p:cNvPr>
          <p:cNvSpPr/>
          <p:nvPr/>
        </p:nvSpPr>
        <p:spPr>
          <a:xfrm>
            <a:off x="1203450" y="2013982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/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64D205E5-DBC4-422A-BF09-BCA621280F66}"/>
              </a:ext>
            </a:extLst>
          </p:cNvPr>
          <p:cNvSpPr/>
          <p:nvPr/>
        </p:nvSpPr>
        <p:spPr>
          <a:xfrm>
            <a:off x="9056914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8131784"/>
              </p:ext>
            </p:extLst>
          </p:nvPr>
        </p:nvGraphicFramePr>
        <p:xfrm>
          <a:off x="748776" y="2676207"/>
          <a:ext cx="10680178" cy="421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584520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844849" y="3908327"/>
            <a:ext cx="2829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19677" y="4073381"/>
            <a:ext cx="1900937" cy="1908215"/>
            <a:chOff x="10258697" y="3527722"/>
            <a:chExt cx="1900937" cy="1908215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7722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poč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7" name="Tabulka 8">
            <a:extLst>
              <a:ext uri="{FF2B5EF4-FFF2-40B4-BE49-F238E27FC236}">
                <a16:creationId xmlns:a16="http://schemas.microsoft.com/office/drawing/2014/main" id="{6B7F79D0-8EDC-4EB5-A2DD-9DA744FC0BC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/>
          </p:nvPr>
        </p:nvGraphicFramePr>
        <p:xfrm>
          <a:off x="187920" y="496835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3 - 13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3 - 20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3 - 27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3 - 3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4 - 10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4 - 17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7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6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7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0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3D31CB96-ADEB-47C9-A675-E23FD094E077}"/>
              </a:ext>
            </a:extLst>
          </p:cNvPr>
          <p:cNvSpPr/>
          <p:nvPr/>
        </p:nvSpPr>
        <p:spPr>
          <a:xfrm>
            <a:off x="1194213" y="1838493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531FA440-D950-4855-8A5A-41583949B9D7}"/>
              </a:ext>
            </a:extLst>
          </p:cNvPr>
          <p:cNvSpPr/>
          <p:nvPr/>
        </p:nvSpPr>
        <p:spPr>
          <a:xfrm>
            <a:off x="3163628" y="1838493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EED5D406-688B-4028-B433-E17549E6B582}"/>
              </a:ext>
            </a:extLst>
          </p:cNvPr>
          <p:cNvSpPr/>
          <p:nvPr/>
        </p:nvSpPr>
        <p:spPr>
          <a:xfrm>
            <a:off x="5107628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239684B6-1F9E-4D4A-99B3-465E0D266E48}"/>
              </a:ext>
            </a:extLst>
          </p:cNvPr>
          <p:cNvSpPr/>
          <p:nvPr/>
        </p:nvSpPr>
        <p:spPr>
          <a:xfrm>
            <a:off x="7077043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Zahnutá šipka nahoru 25">
            <a:extLst>
              <a:ext uri="{FF2B5EF4-FFF2-40B4-BE49-F238E27FC236}">
                <a16:creationId xmlns:a16="http://schemas.microsoft.com/office/drawing/2014/main" id="{014848F3-E01B-4FEE-A43C-793BB5BF9DED}"/>
              </a:ext>
            </a:extLst>
          </p:cNvPr>
          <p:cNvSpPr/>
          <p:nvPr/>
        </p:nvSpPr>
        <p:spPr>
          <a:xfrm>
            <a:off x="9047677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1487498"/>
              </p:ext>
            </p:extLst>
          </p:nvPr>
        </p:nvGraphicFramePr>
        <p:xfrm>
          <a:off x="822037" y="2399045"/>
          <a:ext cx="10908144" cy="4520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783152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961" y="93910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en-CZ" sz="4000" b="1" dirty="0">
                <a:latin typeface="+mn-lt"/>
              </a:rPr>
              <a:t>Aktuální </a:t>
            </a:r>
            <a:r>
              <a:rPr lang="cs-CZ" sz="4000" b="1" dirty="0">
                <a:latin typeface="+mn-lt"/>
              </a:rPr>
              <a:t>počty </a:t>
            </a:r>
            <a:r>
              <a:rPr lang="en-CZ" sz="4000" b="1" dirty="0">
                <a:latin typeface="+mn-lt"/>
              </a:rPr>
              <a:t>hospitalizovaných</a:t>
            </a:r>
            <a:r>
              <a:rPr lang="cs-CZ" sz="4000" b="1" dirty="0">
                <a:latin typeface="+mn-lt"/>
              </a:rPr>
              <a:t> pacientů </a:t>
            </a:r>
            <a:r>
              <a:rPr lang="cs-CZ" sz="4000" b="1" dirty="0" smtClean="0">
                <a:latin typeface="+mn-lt"/>
              </a:rPr>
              <a:t>klesají</a:t>
            </a:r>
            <a:r>
              <a:rPr lang="cs-CZ" sz="4000" b="1" dirty="0">
                <a:latin typeface="+mn-lt"/>
              </a:rPr>
              <a:t/>
            </a:r>
            <a:br>
              <a:rPr lang="cs-CZ" sz="4000" b="1" dirty="0">
                <a:latin typeface="+mn-lt"/>
              </a:rPr>
            </a:br>
            <a:r>
              <a:rPr lang="cs-CZ" sz="4000" b="1" dirty="0" smtClean="0">
                <a:latin typeface="+mn-lt"/>
              </a:rPr>
              <a:t>a roste i dostupná kapacita lůžek, včetně JIP</a:t>
            </a:r>
            <a:endParaRPr lang="en-CZ" sz="4000" b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6AA7CEA-DA9D-FB48-ACE8-2C23380168C2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82785" y="3294205"/>
            <a:ext cx="10515600" cy="344833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5700" dirty="0"/>
              <a:t>C</a:t>
            </a:r>
            <a:r>
              <a:rPr lang="en-CZ" sz="5700" dirty="0"/>
              <a:t>elkem v nemocnici: 		</a:t>
            </a:r>
            <a:r>
              <a:rPr lang="cs-CZ" sz="5700" dirty="0" smtClean="0">
                <a:solidFill>
                  <a:srgbClr val="FF0000"/>
                </a:solidFill>
              </a:rPr>
              <a:t>4 063</a:t>
            </a:r>
            <a:endParaRPr lang="en-CZ" sz="57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CZ" sz="5700" dirty="0"/>
              <a:t>Z toho JIP:					</a:t>
            </a:r>
            <a:r>
              <a:rPr lang="cs-CZ" sz="5700" dirty="0" smtClean="0">
                <a:solidFill>
                  <a:srgbClr val="FF0000"/>
                </a:solidFill>
              </a:rPr>
              <a:t>943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UPV: 				 	</a:t>
            </a:r>
            <a:r>
              <a:rPr lang="cs-CZ" sz="5700" dirty="0" smtClean="0">
                <a:solidFill>
                  <a:srgbClr val="FF0000"/>
                </a:solidFill>
              </a:rPr>
              <a:t>486</a:t>
            </a:r>
            <a:r>
              <a:rPr lang="en-CZ" sz="5700" dirty="0" smtClean="0">
                <a:solidFill>
                  <a:srgbClr val="FF0000"/>
                </a:solidFill>
              </a:rPr>
              <a:t>     </a:t>
            </a:r>
            <a:endParaRPr lang="en-CZ" sz="5700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ECMO:				</a:t>
            </a:r>
            <a:r>
              <a:rPr lang="cs-CZ" sz="5700" dirty="0" smtClean="0">
                <a:solidFill>
                  <a:srgbClr val="FF0000"/>
                </a:solidFill>
              </a:rPr>
              <a:t>20</a:t>
            </a:r>
            <a:endParaRPr lang="en-CZ" sz="4700" i="1" dirty="0"/>
          </a:p>
        </p:txBody>
      </p:sp>
      <p:sp>
        <p:nvSpPr>
          <p:cNvPr id="2" name="Šipka dolů 1"/>
          <p:cNvSpPr/>
          <p:nvPr/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7706306" y="2677172"/>
            <a:ext cx="2948709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  <a:r>
              <a:rPr lang="cs-CZ" sz="2400" b="1" noProof="0" dirty="0" smtClean="0">
                <a:solidFill>
                  <a:prstClr val="white"/>
                </a:solidFill>
                <a:latin typeface="Calibri" panose="020F0502020204030204"/>
              </a:rPr>
              <a:t>21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lang="cs-CZ" sz="2400" b="1" dirty="0">
                <a:solidFill>
                  <a:prstClr val="white"/>
                </a:solidFill>
                <a:latin typeface="Calibri" panose="020F0502020204030204"/>
              </a:rPr>
              <a:t>4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8232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42" y="3931234"/>
            <a:ext cx="11905307" cy="1974265"/>
          </a:xfrm>
        </p:spPr>
        <p:txBody>
          <a:bodyPr>
            <a:noAutofit/>
          </a:bodyPr>
          <a:lstStyle/>
          <a:p>
            <a:r>
              <a:rPr lang="cs-CZ" sz="4800" b="1" dirty="0"/>
              <a:t>Vybrané výstupy z prediktivních </a:t>
            </a:r>
            <a:r>
              <a:rPr lang="cs-CZ" sz="4800" b="1" dirty="0" smtClean="0"/>
              <a:t>modelů</a:t>
            </a:r>
            <a:endParaRPr lang="cs-CZ" sz="4800" b="1" dirty="0"/>
          </a:p>
        </p:txBody>
      </p:sp>
    </p:spTree>
    <p:extLst>
      <p:ext uri="{BB962C8B-B14F-4D97-AF65-F5344CB8AC3E}">
        <p14:creationId xmlns:p14="http://schemas.microsoft.com/office/powerpoint/2010/main" val="2012525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pro rychlé brždění epidemie provedená dne 5.3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od konce </a:t>
            </a:r>
            <a:r>
              <a:rPr kumimoji="0" lang="cs-CZ" sz="3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řezna 2021 ukazuje na rychlejší zpomalování epidemie. V tomto trendu se již s vysokou pravděpodobností promítá postupující očkování populace. </a:t>
            </a:r>
            <a:endParaRPr kumimoji="0" lang="cs-CZ" sz="34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18742" y="3268962"/>
            <a:ext cx="1304237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á predikce dle modelu SEIR, který byl pro epidemii COVID-19 </a:t>
            </a:r>
            <a:endParaRPr kumimoji="0" lang="cs-CZ" sz="3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R adaptován na počátku dubna 2020.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7395" y="5891166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3383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ČR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potvrzuje zpomalení 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1364154" flipV="1">
            <a:off x="10478114" y="4608365"/>
            <a:ext cx="1270004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8">
            <a:extLst>
              <a:ext uri="{FF2B5EF4-FFF2-40B4-BE49-F238E27FC236}">
                <a16:creationId xmlns:a16="http://schemas.microsoft.com/office/drawing/2014/main" id="{4B7574F6-7368-4B63-81DB-F6EAC02F30A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197157" y="1134143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3 - 15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3 - 22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3 - 29.3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3 - 5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4 - 12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4 - 19.4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01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31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71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7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6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2 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02FE6BCD-B160-4DEB-82CC-D4CDD287F607}"/>
              </a:ext>
            </a:extLst>
          </p:cNvPr>
          <p:cNvSpPr/>
          <p:nvPr/>
        </p:nvSpPr>
        <p:spPr>
          <a:xfrm>
            <a:off x="120345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E87C39AF-5DBF-4112-A008-28FE61C7D806}"/>
              </a:ext>
            </a:extLst>
          </p:cNvPr>
          <p:cNvSpPr/>
          <p:nvPr/>
        </p:nvSpPr>
        <p:spPr>
          <a:xfrm>
            <a:off x="3172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9A04A270-7187-4E15-B7EC-383522621181}"/>
              </a:ext>
            </a:extLst>
          </p:cNvPr>
          <p:cNvSpPr/>
          <p:nvPr/>
        </p:nvSpPr>
        <p:spPr>
          <a:xfrm>
            <a:off x="5116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35647ED1-6EF9-4788-866E-E82C5C053706}"/>
              </a:ext>
            </a:extLst>
          </p:cNvPr>
          <p:cNvSpPr/>
          <p:nvPr/>
        </p:nvSpPr>
        <p:spPr>
          <a:xfrm>
            <a:off x="708628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BEB8EDC1-DE8F-4A9A-B5D7-4664DBC21F67}"/>
              </a:ext>
            </a:extLst>
          </p:cNvPr>
          <p:cNvSpPr/>
          <p:nvPr/>
        </p:nvSpPr>
        <p:spPr>
          <a:xfrm>
            <a:off x="9056914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95077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3B6AB81E-5F9E-42E9-A3FB-7A05EC1CB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978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6705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1005B73D-FF6D-4422-BA15-C66F597032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598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50934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 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3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575549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1249C80-BFB2-40C2-AF2B-7672FDA1BE4E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3.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19. 4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949041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. to dokládá</a:t>
            </a:r>
            <a:r>
              <a:rPr kumimoji="0" lang="cs-CZ" sz="3800" b="1" i="1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 simulace možného dopadu rozvolnění, která zakalkulovala částečný návrat dětí do ško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avýšení rizikových kontaktů v populaci o 10 až 20% </a:t>
            </a:r>
            <a:endParaRPr kumimoji="0" lang="cs-CZ" sz="38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75831" y="2290675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es rychlé zpomalování epidemie</a:t>
            </a:r>
            <a:r>
              <a:rPr kumimoji="0" lang="cs-CZ" sz="36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stále zátěž nemocnic velmi vysoká a epidemie na populační úrovni má potenciál vrátit trend k opětovnému růstu …. 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2" y="5133784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454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20763A43-794D-457D-B639-948BAE5EDD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59" y="1523547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7" name="TextovéPole 16"/>
          <p:cNvSpPr txBox="1"/>
          <p:nvPr/>
        </p:nvSpPr>
        <p:spPr>
          <a:xfrm>
            <a:off x="7121048" y="3471019"/>
            <a:ext cx="508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 smtClean="0">
                <a:latin typeface="Arial Black" panose="020B0A04020102020204" pitchFamily="34" charset="0"/>
              </a:rPr>
              <a:t>!</a:t>
            </a:r>
            <a:endParaRPr lang="cs-CZ" sz="3600" b="1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03599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92507" y="1221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196429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/>
        </p:nvSpPr>
        <p:spPr>
          <a:xfrm>
            <a:off x="1958329" y="1352836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E8EB343B-FF9D-4901-9D18-93F29BAC2468}"/>
              </a:ext>
            </a:extLst>
          </p:cNvPr>
          <p:cNvCxnSpPr>
            <a:cxnSpLocks/>
          </p:cNvCxnSpPr>
          <p:nvPr/>
        </p:nvCxnSpPr>
        <p:spPr>
          <a:xfrm>
            <a:off x="2433470" y="1829508"/>
            <a:ext cx="0" cy="129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614069" y="1429524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5876" y="1799514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. a 2. třídách, přípravných třídách a  speciálních, mateřských školách a praktických školách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FF670A9-C78E-4ED3-A53F-0C6026BEF7F3}"/>
              </a:ext>
            </a:extLst>
          </p:cNvPr>
          <p:cNvCxnSpPr>
            <a:cxnSpLocks/>
          </p:cNvCxnSpPr>
          <p:nvPr/>
        </p:nvCxnSpPr>
        <p:spPr>
          <a:xfrm>
            <a:off x="3091890" y="2446644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/>
        </p:nvCxnSpPr>
        <p:spPr>
          <a:xfrm>
            <a:off x="7478935" y="2033374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,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četně malých dětí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8147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92507" y="1221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196429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,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četně seniorů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26878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3228" y="3830816"/>
            <a:ext cx="1173783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000" b="1" dirty="0" smtClean="0">
                <a:solidFill>
                  <a:srgbClr val="0000FF"/>
                </a:solidFill>
                <a:latin typeface="Calibri" panose="020F0502020204030204"/>
              </a:rPr>
              <a:t>Reprodukční číslo je stabilně &lt; 1 a kolísá mezi 0,70 a 0,85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0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000" b="1" dirty="0" smtClean="0">
                <a:solidFill>
                  <a:srgbClr val="0000FF"/>
                </a:solidFill>
                <a:latin typeface="Calibri" panose="020F0502020204030204"/>
              </a:rPr>
              <a:t>Klesá relativní pozitivita diagnostických a také epidemiologicky indikovaných testů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000" b="1" dirty="0" smtClean="0">
                <a:solidFill>
                  <a:srgbClr val="0000FF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90" y="321058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49382" y="166285"/>
            <a:ext cx="11508509" cy="28170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prokazatelné, že na populačních datech se neprojevil negativní vliv Velikonoc a rovněž</a:t>
            </a:r>
            <a:r>
              <a:rPr kumimoji="0" lang="cs-CZ" sz="3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měny přijaté po 12.4. </a:t>
            </a:r>
            <a:r>
              <a:rPr lang="cs-CZ" sz="3800" b="1" dirty="0" smtClean="0">
                <a:solidFill>
                  <a:prstClr val="black"/>
                </a:solidFill>
                <a:latin typeface="Calibri" panose="020F0502020204030204"/>
              </a:rPr>
              <a:t>se zatím nepromítly do žádného z hodnocených </a:t>
            </a:r>
            <a:r>
              <a:rPr lang="cs-CZ" sz="3800" b="1" dirty="0" err="1" smtClean="0">
                <a:solidFill>
                  <a:prstClr val="black"/>
                </a:solidFill>
                <a:latin typeface="Calibri" panose="020F0502020204030204"/>
              </a:rPr>
              <a:t>markerů</a:t>
            </a:r>
            <a:r>
              <a:rPr lang="cs-CZ" sz="3800" b="1" dirty="0" smtClean="0">
                <a:solidFill>
                  <a:prstClr val="black"/>
                </a:solidFill>
                <a:latin typeface="Calibri" panose="020F0502020204030204"/>
              </a:rPr>
              <a:t>. Zpomalování epidemie je patrné ve všech regionech, ačkoli mezi nimi existují značné rozdíly.</a:t>
            </a:r>
            <a:endParaRPr kumimoji="0" lang="cs-CZ" sz="3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27781" y="584046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22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/>
              <a:t>Relativní pozitivita testů z diagnostické a klinické indikace </a:t>
            </a:r>
            <a:r>
              <a:rPr lang="cs-CZ" sz="2000" b="1" u="sng" dirty="0" smtClean="0">
                <a:solidFill>
                  <a:srgbClr val="0000FF"/>
                </a:solidFill>
              </a:rPr>
              <a:t>nadále klesá</a:t>
            </a:r>
            <a:r>
              <a:rPr lang="cs-CZ" sz="2000" b="1" dirty="0" smtClean="0"/>
              <a:t> </a:t>
            </a:r>
            <a:r>
              <a:rPr lang="cs-CZ" sz="2000" b="1" dirty="0"/>
              <a:t>= průkazný indikátor zpomalování šíření epidemie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35447" y="2753276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1584171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le 13">
            <a:extLst>
              <a:ext uri="{FF2B5EF4-FFF2-40B4-BE49-F238E27FC236}">
                <a16:creationId xmlns:a16="http://schemas.microsoft.com/office/drawing/2014/main" id="{6D7E3AAB-2230-4575-8484-739AB212BA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02305"/>
              </p:ext>
            </p:extLst>
          </p:nvPr>
        </p:nvGraphicFramePr>
        <p:xfrm>
          <a:off x="1435447" y="57600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6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1291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A097BF6-68A1-4D50-803F-482D0AA07F45}"/>
              </a:ext>
            </a:extLst>
          </p:cNvPr>
          <p:cNvSpPr txBox="1"/>
          <p:nvPr/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/>
              <a:t>Relativní pozitivita testů z epidemiologické indikace </a:t>
            </a:r>
            <a:r>
              <a:rPr lang="cs-CZ" sz="2000" b="1" u="sng" dirty="0" smtClean="0">
                <a:solidFill>
                  <a:srgbClr val="0000FF"/>
                </a:solidFill>
              </a:rPr>
              <a:t>nadále klesá</a:t>
            </a:r>
            <a:r>
              <a:rPr lang="cs-CZ" sz="2000" b="1" dirty="0" smtClean="0"/>
              <a:t> </a:t>
            </a:r>
            <a:r>
              <a:rPr lang="cs-CZ" sz="2000" b="1" dirty="0"/>
              <a:t>= průkazný indikátor zpomalování šíření epidemie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78297" y="2758245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6281097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Table 13">
            <a:extLst>
              <a:ext uri="{FF2B5EF4-FFF2-40B4-BE49-F238E27FC236}">
                <a16:creationId xmlns:a16="http://schemas.microsoft.com/office/drawing/2014/main" id="{A86C0187-86A7-4D34-84E5-38D6DD765E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6825904"/>
              </p:ext>
            </p:extLst>
          </p:nvPr>
        </p:nvGraphicFramePr>
        <p:xfrm>
          <a:off x="1386640" y="57600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605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77585" y="2771954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 smtClean="0">
                <a:solidFill>
                  <a:srgbClr val="C00000"/>
                </a:solidFill>
                <a:latin typeface="Calibri" panose="020F0502020204030204"/>
              </a:rPr>
              <a:t>Avšak </a:t>
            </a:r>
            <a:r>
              <a:rPr lang="cs-CZ" sz="3200" b="1" dirty="0">
                <a:solidFill>
                  <a:srgbClr val="C00000"/>
                </a:solidFill>
                <a:latin typeface="Calibri" panose="020F0502020204030204"/>
              </a:rPr>
              <a:t>v důsledku nově přijatých opatření a vlivem důslednějšího dodržování všech opatření byl růst epidemie na Moravě a Slezsku významně slabší </a:t>
            </a:r>
            <a:r>
              <a:rPr lang="cs-CZ" sz="3200" b="1" dirty="0" smtClean="0">
                <a:solidFill>
                  <a:srgbClr val="C00000"/>
                </a:solidFill>
                <a:latin typeface="Calibri" panose="020F0502020204030204"/>
              </a:rPr>
              <a:t>(až o 40%) než </a:t>
            </a:r>
            <a:r>
              <a:rPr lang="cs-CZ" sz="3200" b="1" dirty="0">
                <a:solidFill>
                  <a:srgbClr val="C00000"/>
                </a:solidFill>
                <a:latin typeface="Calibri" panose="020F0502020204030204"/>
              </a:rPr>
              <a:t>v nejvíce zasažených částech Č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600" b="1" dirty="0"/>
              <a:t>Rychlejší šíření epidemie zasáhlo jednotlivé regiony </a:t>
            </a:r>
            <a:r>
              <a:rPr lang="cs-CZ" sz="3600" b="1" dirty="0" smtClean="0"/>
              <a:t>postupně. </a:t>
            </a:r>
            <a:endParaRPr lang="cs-CZ" sz="3600" b="1" dirty="0"/>
          </a:p>
          <a:p>
            <a:pPr marL="0" indent="0" algn="ctr">
              <a:buNone/>
            </a:pPr>
            <a:r>
              <a:rPr lang="cs-CZ" sz="3600" b="1" dirty="0" smtClean="0"/>
              <a:t>Nejdříve a </a:t>
            </a:r>
            <a:r>
              <a:rPr lang="cs-CZ" sz="3600" b="1" dirty="0"/>
              <a:t>nejvíce byl zasažen západ a sever </a:t>
            </a:r>
            <a:r>
              <a:rPr lang="cs-CZ" sz="3600" b="1" dirty="0" smtClean="0"/>
              <a:t>Čech, šíření </a:t>
            </a:r>
          </a:p>
          <a:p>
            <a:pPr marL="0" indent="0" algn="ctr">
              <a:buNone/>
            </a:pPr>
            <a:r>
              <a:rPr lang="cs-CZ" sz="3600" b="1" dirty="0" smtClean="0"/>
              <a:t>dále postupovalo na východ. </a:t>
            </a:r>
            <a:endParaRPr lang="cs-CZ" sz="3600" b="1" dirty="0"/>
          </a:p>
        </p:txBody>
      </p:sp>
      <p:sp>
        <p:nvSpPr>
          <p:cNvPr id="5" name="Šipka dolů 4"/>
          <p:cNvSpPr/>
          <p:nvPr/>
        </p:nvSpPr>
        <p:spPr>
          <a:xfrm>
            <a:off x="5199349" y="211311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9" y="47469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108877" y="3233618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!</a:t>
            </a:r>
            <a:endParaRPr lang="cs-CZ" sz="3600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11675768" y="3233617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!</a:t>
            </a:r>
            <a:endParaRPr lang="cs-CZ" sz="3600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194458" y="5223033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Nejnovější data potvrzují setrvale klesající trend i v období po 12.4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Rozdíly mezi regiony se postupně snižují,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 žádný z region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 hodnotách neroste. Gradient „západ -&gt; východ“ avšak trvá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78591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LIDEID" val="150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23</TotalTime>
  <Words>2848</Words>
  <Application>Microsoft Office PowerPoint</Application>
  <PresentationFormat>Širokoúhlá obrazovka</PresentationFormat>
  <Paragraphs>555</Paragraphs>
  <Slides>34</Slides>
  <Notes>6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34</vt:i4>
      </vt:variant>
    </vt:vector>
  </HeadingPairs>
  <TitlesOfParts>
    <vt:vector size="48" baseType="lpstr">
      <vt:lpstr>Arial</vt:lpstr>
      <vt:lpstr>Arial (Základní text)</vt:lpstr>
      <vt:lpstr>Arial Black</vt:lpstr>
      <vt:lpstr>Calibri</vt:lpstr>
      <vt:lpstr>Calibri Light</vt:lpstr>
      <vt:lpstr>Wingdings</vt:lpstr>
      <vt:lpstr>Motiv Office</vt:lpstr>
      <vt:lpstr>1_Motiv systému Office</vt:lpstr>
      <vt:lpstr>Office Theme</vt:lpstr>
      <vt:lpstr>8_Motiv Office</vt:lpstr>
      <vt:lpstr>7_Motiv Office</vt:lpstr>
      <vt:lpstr>2_Motiv Office</vt:lpstr>
      <vt:lpstr>4_Motiv Office</vt:lpstr>
      <vt:lpstr>12_Motiv Office</vt:lpstr>
      <vt:lpstr>Datová a informační základna  pro management pandemie COVID-19</vt:lpstr>
      <vt:lpstr>Prezentace aplikace PowerPoint</vt:lpstr>
      <vt:lpstr>Počty nově diagnostikovaných pacientů: týdenní vývoj v ČR</vt:lpstr>
      <vt:lpstr>Počty COVID-19 pozitivních v ČR na 100 000 v populaci</vt:lpstr>
      <vt:lpstr>Počty COVID-19 pozitivních v ČR na 100 000 v populaci</vt:lpstr>
      <vt:lpstr>Prezentace aplikace PowerPoint</vt:lpstr>
      <vt:lpstr>Podíl pozitivních testů: diagnostické a klinické indikace </vt:lpstr>
      <vt:lpstr>Podíl pozitivních testů: epidemiologické indikace</vt:lpstr>
      <vt:lpstr>Prezentace aplikace PowerPoint</vt:lpstr>
      <vt:lpstr>14 denní počet nových případů (na 100 000 obyv.) v ORP</vt:lpstr>
      <vt:lpstr>Zátěž regionů ve vzájemném srovnání </vt:lpstr>
      <vt:lpstr>14 denní počet nových případů (na 100 000 obyv.) v ORP</vt:lpstr>
      <vt:lpstr>14 denní počet nových případů (na 100 000 obyv.) v okresech</vt:lpstr>
      <vt:lpstr>Datová a informační základna  pro management pandemie COVID-19</vt:lpstr>
      <vt:lpstr>Prezentace aplikace PowerPoint</vt:lpstr>
      <vt:lpstr>Nové případy za 14 dní na 100 000 obyvatel: srovnání krajů k 19.4.</vt:lpstr>
      <vt:lpstr>R (zjednodušený výpočet) - 7 denní úseky: srovnání krajů k 19.4.</vt:lpstr>
      <vt:lpstr>Prezentace aplikace PowerPoint</vt:lpstr>
      <vt:lpstr>Nové případy za 7 dní na 100 000 obyvatel: 15 okresů s nejvyššími hodnotami k 19.4.</vt:lpstr>
      <vt:lpstr>Nové případy za 14 dní na 100 000 obyvatel: 15 okresů s nejvyššími hodnotami k 19.4.</vt:lpstr>
      <vt:lpstr>Počty nově diagnostikovaných pacientů: týdenní vývoj v ZLK</vt:lpstr>
      <vt:lpstr>Datová a informační základna  pro management pandemie COVID-19</vt:lpstr>
      <vt:lpstr>Prezentace aplikace PowerPoint</vt:lpstr>
      <vt:lpstr>Počty nově diagnostikovaných pacientů 65+: týdenní vývoj</vt:lpstr>
      <vt:lpstr>Prezentace aplikace PowerPoint</vt:lpstr>
      <vt:lpstr>Prezentace aplikace PowerPoint</vt:lpstr>
      <vt:lpstr> Aktuální počty hospitalizovaných pacientů klesají a roste i dostupná kapacita lůžek, včetně JIP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Scénáře dlouhodobých simulací z 5. 3. 2021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715</cp:revision>
  <dcterms:created xsi:type="dcterms:W3CDTF">2020-03-16T10:06:11Z</dcterms:created>
  <dcterms:modified xsi:type="dcterms:W3CDTF">2021-04-21T20:55:50Z</dcterms:modified>
</cp:coreProperties>
</file>